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21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8" r:id="rId2"/>
    <p:sldMasterId id="2147483863" r:id="rId3"/>
    <p:sldMasterId id="2147483971" r:id="rId4"/>
  </p:sldMasterIdLst>
  <p:notesMasterIdLst>
    <p:notesMasterId r:id="rId42"/>
  </p:notesMasterIdLst>
  <p:handoutMasterIdLst>
    <p:handoutMasterId r:id="rId43"/>
  </p:handoutMasterIdLst>
  <p:sldIdLst>
    <p:sldId id="2145707598" r:id="rId5"/>
    <p:sldId id="2145707593" r:id="rId6"/>
    <p:sldId id="2145707772" r:id="rId7"/>
    <p:sldId id="2145707801" r:id="rId8"/>
    <p:sldId id="2145707595" r:id="rId9"/>
    <p:sldId id="2145707802" r:id="rId10"/>
    <p:sldId id="2145707803" r:id="rId11"/>
    <p:sldId id="2145707804" r:id="rId12"/>
    <p:sldId id="2145707805" r:id="rId13"/>
    <p:sldId id="2145707806" r:id="rId14"/>
    <p:sldId id="2145707807" r:id="rId15"/>
    <p:sldId id="2145707808" r:id="rId16"/>
    <p:sldId id="2145707809" r:id="rId17"/>
    <p:sldId id="2145707810" r:id="rId18"/>
    <p:sldId id="2145707811" r:id="rId19"/>
    <p:sldId id="2145707812" r:id="rId20"/>
    <p:sldId id="2145707813" r:id="rId21"/>
    <p:sldId id="2145707814" r:id="rId22"/>
    <p:sldId id="2145707815" r:id="rId23"/>
    <p:sldId id="2145707816" r:id="rId24"/>
    <p:sldId id="2145707817" r:id="rId25"/>
    <p:sldId id="2145707818" r:id="rId26"/>
    <p:sldId id="2145707819" r:id="rId27"/>
    <p:sldId id="2145707820" r:id="rId28"/>
    <p:sldId id="2145707821" r:id="rId29"/>
    <p:sldId id="2145707822" r:id="rId30"/>
    <p:sldId id="2145707823" r:id="rId31"/>
    <p:sldId id="2145707824" r:id="rId32"/>
    <p:sldId id="2145707825" r:id="rId33"/>
    <p:sldId id="2145707826" r:id="rId34"/>
    <p:sldId id="2145707827" r:id="rId35"/>
    <p:sldId id="2145707828" r:id="rId36"/>
    <p:sldId id="2145707829" r:id="rId37"/>
    <p:sldId id="2145707830" r:id="rId38"/>
    <p:sldId id="2145707831" r:id="rId39"/>
    <p:sldId id="2145707832" r:id="rId40"/>
    <p:sldId id="2145707769" r:id="rId41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6F2"/>
    <a:srgbClr val="254061"/>
    <a:srgbClr val="EAF4FF"/>
    <a:srgbClr val="5B9BD5"/>
    <a:srgbClr val="D6E6F4"/>
    <a:srgbClr val="215968"/>
    <a:srgbClr val="FFFFFF"/>
    <a:srgbClr val="400D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15" autoAdjust="0"/>
    <p:restoredTop sz="94660"/>
  </p:normalViewPr>
  <p:slideViewPr>
    <p:cSldViewPr snapToGrid="0">
      <p:cViewPr varScale="1">
        <p:scale>
          <a:sx n="88" d="100"/>
          <a:sy n="88" d="100"/>
        </p:scale>
        <p:origin x="618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923876587015325E-2"/>
          <c:y val="8.2502693758092827E-2"/>
          <c:w val="0.98607618020414711"/>
          <c:h val="0.71870344183043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5:$D$6</c:f>
              <c:strCache>
                <c:ptCount val="2"/>
                <c:pt idx="0">
                  <c:v>Действующий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Объем, стр.</c:v>
                </c:pt>
                <c:pt idx="1">
                  <c:v>Разделы</c:v>
                </c:pt>
                <c:pt idx="2">
                  <c:v>Главы</c:v>
                </c:pt>
                <c:pt idx="3">
                  <c:v>Статьи</c:v>
                </c:pt>
                <c:pt idx="4">
                  <c:v>Отсылочные нормы</c:v>
                </c:pt>
              </c:strCache>
            </c:strRef>
          </c:cat>
          <c:val>
            <c:numRef>
              <c:f>Лист1!$D$7:$D$11</c:f>
              <c:numCache>
                <c:formatCode>#,##0</c:formatCode>
                <c:ptCount val="5"/>
                <c:pt idx="0">
                  <c:v>323</c:v>
                </c:pt>
                <c:pt idx="1">
                  <c:v>13</c:v>
                </c:pt>
                <c:pt idx="2">
                  <c:v>49</c:v>
                </c:pt>
                <c:pt idx="3">
                  <c:v>245</c:v>
                </c:pt>
                <c:pt idx="4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4C-41F5-8A33-21C58BB1EF7F}"/>
            </c:ext>
          </c:extLst>
        </c:ser>
        <c:ser>
          <c:idx val="1"/>
          <c:order val="1"/>
          <c:tx>
            <c:strRef>
              <c:f>Лист1!$E$5:$E$6</c:f>
              <c:strCache>
                <c:ptCount val="2"/>
                <c:pt idx="0">
                  <c:v>Новый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25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15A-40D9-BDD5-63E9FD86DEC9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15A-40D9-BDD5-63E9FD86DEC9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3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15A-40D9-BDD5-63E9FD86DEC9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17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15A-40D9-BDD5-63E9FD86DEC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Объем, стр.</c:v>
                </c:pt>
                <c:pt idx="1">
                  <c:v>Разделы</c:v>
                </c:pt>
                <c:pt idx="2">
                  <c:v>Главы</c:v>
                </c:pt>
                <c:pt idx="3">
                  <c:v>Статьи</c:v>
                </c:pt>
                <c:pt idx="4">
                  <c:v>Отсылочные нормы</c:v>
                </c:pt>
              </c:strCache>
            </c:strRef>
          </c:cat>
          <c:val>
            <c:numRef>
              <c:f>Лист1!$E$7:$E$11</c:f>
              <c:numCache>
                <c:formatCode>#,##0</c:formatCode>
                <c:ptCount val="5"/>
                <c:pt idx="0">
                  <c:v>203</c:v>
                </c:pt>
                <c:pt idx="1">
                  <c:v>9</c:v>
                </c:pt>
                <c:pt idx="2">
                  <c:v>31</c:v>
                </c:pt>
                <c:pt idx="3">
                  <c:v>167</c:v>
                </c:pt>
                <c:pt idx="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4C-41F5-8A33-21C58BB1EF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57752048"/>
        <c:axId val="-257754224"/>
      </c:barChart>
      <c:catAx>
        <c:axId val="-257752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257754224"/>
        <c:crosses val="autoZero"/>
        <c:auto val="1"/>
        <c:lblAlgn val="ctr"/>
        <c:lblOffset val="100"/>
        <c:noMultiLvlLbl val="0"/>
      </c:catAx>
      <c:valAx>
        <c:axId val="-25775422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-257752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522885491964286"/>
          <c:y val="6.1274395389338742E-3"/>
          <c:w val="0.46420757217472652"/>
          <c:h val="0.153142180009695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97</cdr:x>
      <cdr:y>0.07798</cdr:y>
    </cdr:from>
    <cdr:to>
      <cdr:x>0.20407</cdr:x>
      <cdr:y>0.44124</cdr:y>
    </cdr:to>
    <cdr:sp macro="" textlink="">
      <cdr:nvSpPr>
        <cdr:cNvPr id="2" name="Правая фигурная скобка 1"/>
        <cdr:cNvSpPr/>
      </cdr:nvSpPr>
      <cdr:spPr>
        <a:xfrm xmlns:a="http://schemas.openxmlformats.org/drawingml/2006/main">
          <a:off x="628960" y="132919"/>
          <a:ext cx="174736" cy="619241"/>
        </a:xfrm>
        <a:prstGeom xmlns:a="http://schemas.openxmlformats.org/drawingml/2006/main" prst="rightBrace">
          <a:avLst/>
        </a:prstGeom>
        <a:ln xmlns:a="http://schemas.openxmlformats.org/drawingml/2006/main" w="9525">
          <a:solidFill>
            <a:schemeClr val="accent1"/>
          </a:solidFill>
          <a:tailEnd type="non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t" anchorCtr="0"/>
        <a:lstStyle xmlns:a="http://schemas.openxmlformats.org/drawingml/2006/main"/>
        <a:p xmlns:a="http://schemas.openxmlformats.org/drawingml/2006/main">
          <a:endParaRPr lang="ru-RU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07B62A-3321-4E64-B3EF-1AA8E1F31B46}" type="datetimeFigureOut">
              <a:rPr lang="ru-RU" smtClean="0"/>
              <a:t>04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CBDA19-847A-4C91-8EFE-5B6B590ECC2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790328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1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4.9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3T10:23:51.42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1E850-1524-452C-91F0-51FB20E67EAE}" type="datetimeFigureOut">
              <a:rPr lang="ru-RU" smtClean="0"/>
              <a:t>04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C1A29-4C55-4570-BE89-A2896C147B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16288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806450"/>
            <a:ext cx="7167563" cy="40322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9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подходы по проекту Бюджетного кодекса в новой редакци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  <a:sym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4128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01231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>
            <a:headEnd/>
            <a:tailEnd/>
          </a:ln>
        </p:spPr>
      </p:sp>
      <p:sp>
        <p:nvSpPr>
          <p:cNvPr id="148483" name="Заметки 2"/>
          <p:cNvSpPr txBox="1"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eaLnBrk="1" hangingPunct="1">
              <a:spcBef>
                <a:spcPts val="275"/>
              </a:spcBef>
              <a:buSzPts val="1400"/>
            </a:pPr>
            <a:endParaRPr lang="ru-RU" altLang="en-US" sz="90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spcFirstLastPara="1">
            <a:noAutofit/>
          </a:bodyPr>
          <a:lstStyle/>
          <a:p>
            <a:pPr marL="0" marR="0" lvl="0" indent="0" algn="r" defTabSz="9111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617CCC76-1BFA-4460-B372-3A5F7429EB80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  <a:sym typeface="Arial"/>
              </a:rPr>
              <a:pPr marL="0" marR="0" lvl="0" indent="0" algn="r" defTabSz="9111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1332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7415">
              <a:defRPr/>
            </a:pPr>
            <a:endParaRPr lang="ru-RU" dirty="0"/>
          </a:p>
        </p:txBody>
      </p:sp>
      <p:sp>
        <p:nvSpPr>
          <p:cNvPr id="133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73" indent="-285144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0574" indent="-22811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6804" indent="-22811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3034" indent="-228115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09263" indent="-228115" defTabSz="917212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5492" indent="-228115" defTabSz="917212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1722" indent="-228115" defTabSz="917212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77953" indent="-228115" defTabSz="917212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72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111988E-5D36-416C-9B19-390DE5AB082C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72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29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2ACA2F-0034-4A3E-88EB-A6077F6517AC}" type="slidenum">
              <a:rPr kumimoji="0" lang="ru-K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K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2871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6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91" indent="0" algn="ctr">
              <a:buNone/>
              <a:defRPr sz="2000"/>
            </a:lvl2pPr>
            <a:lvl3pPr marL="913810" indent="0" algn="ctr">
              <a:buNone/>
              <a:defRPr sz="1867"/>
            </a:lvl3pPr>
            <a:lvl4pPr marL="1370716" indent="0" algn="ctr">
              <a:buNone/>
              <a:defRPr sz="1600"/>
            </a:lvl4pPr>
            <a:lvl5pPr marL="1827621" indent="0" algn="ctr">
              <a:buNone/>
              <a:defRPr sz="1600"/>
            </a:lvl5pPr>
            <a:lvl6pPr marL="2284542" indent="0" algn="ctr">
              <a:buNone/>
              <a:defRPr sz="1600"/>
            </a:lvl6pPr>
            <a:lvl7pPr marL="2741430" indent="0" algn="ctr">
              <a:buNone/>
              <a:defRPr sz="1600"/>
            </a:lvl7pPr>
            <a:lvl8pPr marL="3198320" indent="0" algn="ctr">
              <a:buNone/>
              <a:defRPr sz="1600"/>
            </a:lvl8pPr>
            <a:lvl9pPr marL="36552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7414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7196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4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4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7150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575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789207" y="824137"/>
            <a:ext cx="1056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1696285" y="6444344"/>
            <a:ext cx="492931" cy="400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583" tIns="60791" rIns="121583" bIns="60791" anchor="ctr"/>
          <a:lstStyle/>
          <a:p>
            <a:pPr marL="0" marR="0" lvl="0" indent="0" algn="ctr" defTabSz="9195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133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9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683883" y="294217"/>
            <a:ext cx="10115549" cy="414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915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798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670528" y="890092"/>
            <a:ext cx="10845057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7032" y="350248"/>
            <a:ext cx="10841557" cy="4219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72"/>
              </a:spcAft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11626400" y="6363669"/>
            <a:ext cx="289888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44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1867" b="0" i="0" u="none" strike="noStrike" kern="1200" cap="none" spc="-9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44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67" b="0" i="0" u="none" strike="noStrike" kern="1200" cap="none" spc="-9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453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920116">
              <a:defRPr/>
            </a:pPr>
            <a:fld id="{6A93956F-647A-44B9-8163-DDB447652883}" type="slidenum">
              <a:rPr lang="ru-RU" altLang="ru-RU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920116">
                <a:defRPr/>
              </a:pPr>
              <a:t>‹#›</a:t>
            </a:fld>
            <a:endParaRPr lang="ru-RU" altLang="ru-RU" sz="106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7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9024048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4" y="2130472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7" y="3886213"/>
            <a:ext cx="8534401" cy="17525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99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99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98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98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97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97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9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96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39142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9739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1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1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59953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19903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7985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39807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299760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59710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19666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79614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5325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697624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514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5" y="120015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3" y="120015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67682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8" y="274643"/>
            <a:ext cx="1097279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9530" indent="0">
              <a:buNone/>
              <a:defRPr sz="2667" b="1"/>
            </a:lvl2pPr>
            <a:lvl3pPr marL="1199033" indent="0">
              <a:buNone/>
              <a:defRPr sz="2400" b="1"/>
            </a:lvl3pPr>
            <a:lvl4pPr marL="1798590" indent="0">
              <a:buNone/>
              <a:defRPr sz="2133" b="1"/>
            </a:lvl4pPr>
            <a:lvl5pPr marL="2398071" indent="0">
              <a:buNone/>
              <a:defRPr sz="2133" b="1"/>
            </a:lvl5pPr>
            <a:lvl6pPr marL="2997601" indent="0">
              <a:buNone/>
              <a:defRPr sz="2133" b="1"/>
            </a:lvl6pPr>
            <a:lvl7pPr marL="3597105" indent="0">
              <a:buNone/>
              <a:defRPr sz="2133" b="1"/>
            </a:lvl7pPr>
            <a:lvl8pPr marL="4196662" indent="0">
              <a:buNone/>
              <a:defRPr sz="2133" b="1"/>
            </a:lvl8pPr>
            <a:lvl9pPr marL="4796141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7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14" y="1535117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9530" indent="0">
              <a:buNone/>
              <a:defRPr sz="2667" b="1"/>
            </a:lvl2pPr>
            <a:lvl3pPr marL="1199033" indent="0">
              <a:buNone/>
              <a:defRPr sz="2400" b="1"/>
            </a:lvl3pPr>
            <a:lvl4pPr marL="1798590" indent="0">
              <a:buNone/>
              <a:defRPr sz="2133" b="1"/>
            </a:lvl4pPr>
            <a:lvl5pPr marL="2398071" indent="0">
              <a:buNone/>
              <a:defRPr sz="2133" b="1"/>
            </a:lvl5pPr>
            <a:lvl6pPr marL="2997601" indent="0">
              <a:buNone/>
              <a:defRPr sz="2133" b="1"/>
            </a:lvl6pPr>
            <a:lvl7pPr marL="3597105" indent="0">
              <a:buNone/>
              <a:defRPr sz="2133" b="1"/>
            </a:lvl7pPr>
            <a:lvl8pPr marL="4196662" indent="0">
              <a:buNone/>
              <a:defRPr sz="2133" b="1"/>
            </a:lvl8pPr>
            <a:lvl9pPr marL="4796141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14" y="2174877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9285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5351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1315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15" y="273053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8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15" y="143513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599530" indent="0">
              <a:buNone/>
              <a:defRPr sz="1600"/>
            </a:lvl2pPr>
            <a:lvl3pPr marL="1199033" indent="0">
              <a:buNone/>
              <a:defRPr sz="1333"/>
            </a:lvl3pPr>
            <a:lvl4pPr marL="1798590" indent="0">
              <a:buNone/>
              <a:defRPr sz="1200"/>
            </a:lvl4pPr>
            <a:lvl5pPr marL="2398071" indent="0">
              <a:buNone/>
              <a:defRPr sz="1200"/>
            </a:lvl5pPr>
            <a:lvl6pPr marL="2997601" indent="0">
              <a:buNone/>
              <a:defRPr sz="1200"/>
            </a:lvl6pPr>
            <a:lvl7pPr marL="3597105" indent="0">
              <a:buNone/>
              <a:defRPr sz="1200"/>
            </a:lvl7pPr>
            <a:lvl8pPr marL="4196662" indent="0">
              <a:buNone/>
              <a:defRPr sz="1200"/>
            </a:lvl8pPr>
            <a:lvl9pPr marL="4796141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5152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6" y="4800605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6" y="61277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599530" indent="0">
              <a:buNone/>
              <a:defRPr sz="3733"/>
            </a:lvl2pPr>
            <a:lvl3pPr marL="1199033" indent="0">
              <a:buNone/>
              <a:defRPr sz="3200"/>
            </a:lvl3pPr>
            <a:lvl4pPr marL="1798590" indent="0">
              <a:buNone/>
              <a:defRPr sz="2667"/>
            </a:lvl4pPr>
            <a:lvl5pPr marL="2398071" indent="0">
              <a:buNone/>
              <a:defRPr sz="2667"/>
            </a:lvl5pPr>
            <a:lvl6pPr marL="2997601" indent="0">
              <a:buNone/>
              <a:defRPr sz="2667"/>
            </a:lvl6pPr>
            <a:lvl7pPr marL="3597105" indent="0">
              <a:buNone/>
              <a:defRPr sz="2667"/>
            </a:lvl7pPr>
            <a:lvl8pPr marL="4196662" indent="0">
              <a:buNone/>
              <a:defRPr sz="2667"/>
            </a:lvl8pPr>
            <a:lvl9pPr marL="4796141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6" y="5367393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99530" indent="0">
              <a:buNone/>
              <a:defRPr sz="1600"/>
            </a:lvl2pPr>
            <a:lvl3pPr marL="1199033" indent="0">
              <a:buNone/>
              <a:defRPr sz="1333"/>
            </a:lvl3pPr>
            <a:lvl4pPr marL="1798590" indent="0">
              <a:buNone/>
              <a:defRPr sz="1200"/>
            </a:lvl4pPr>
            <a:lvl5pPr marL="2398071" indent="0">
              <a:buNone/>
              <a:defRPr sz="1200"/>
            </a:lvl5pPr>
            <a:lvl6pPr marL="2997601" indent="0">
              <a:buNone/>
              <a:defRPr sz="1200"/>
            </a:lvl6pPr>
            <a:lvl7pPr marL="3597105" indent="0">
              <a:buNone/>
              <a:defRPr sz="1200"/>
            </a:lvl7pPr>
            <a:lvl8pPr marL="4196662" indent="0">
              <a:buNone/>
              <a:defRPr sz="1200"/>
            </a:lvl8pPr>
            <a:lvl9pPr marL="4796141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47038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11356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3" y="206379"/>
            <a:ext cx="2743200" cy="43878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28" y="206379"/>
            <a:ext cx="8026401" cy="43878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6865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789207" y="824137"/>
            <a:ext cx="1056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1696285" y="6444344"/>
            <a:ext cx="492931" cy="400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583" tIns="60791" rIns="121583" bIns="60791" anchor="ctr"/>
          <a:lstStyle/>
          <a:p>
            <a:pPr marL="0" marR="0" lvl="0" indent="0" algn="ctr" defTabSz="9195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133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/>
              </a:rPr>
              <a:pPr marL="0" marR="0" lvl="0" indent="0" algn="ctr" defTabSz="919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683883" y="294217"/>
            <a:ext cx="10115549" cy="414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915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05851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670528" y="890092"/>
            <a:ext cx="10845057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7032" y="350248"/>
            <a:ext cx="10841557" cy="4219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72"/>
              </a:spcAft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11626400" y="6363669"/>
            <a:ext cx="289888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44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1867" b="0" i="0" u="none" strike="noStrike" kern="1200" cap="none" spc="-9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944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67" b="0" i="0" u="none" strike="noStrike" kern="1200" cap="none" spc="-9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77002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81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6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2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48540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6288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4" y="2130472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7" y="3886213"/>
            <a:ext cx="8534401" cy="17525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99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99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98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98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97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97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9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96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D0D3E0-8FE0-4336-8460-94BA5A2726BD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504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170DF5-C04D-492E-AC44-6D7996261698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4221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91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91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59953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19903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7985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39807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299760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59710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19666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79614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4E2A5-A8F2-485E-A4E6-A8F5E060EE21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5326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5" y="120015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3" y="1200157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D803C-4606-4830-9E68-BA590675FE1B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9118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8" y="274643"/>
            <a:ext cx="1097279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7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9530" indent="0">
              <a:buNone/>
              <a:defRPr sz="2667" b="1"/>
            </a:lvl2pPr>
            <a:lvl3pPr marL="1199033" indent="0">
              <a:buNone/>
              <a:defRPr sz="2400" b="1"/>
            </a:lvl3pPr>
            <a:lvl4pPr marL="1798590" indent="0">
              <a:buNone/>
              <a:defRPr sz="2133" b="1"/>
            </a:lvl4pPr>
            <a:lvl5pPr marL="2398071" indent="0">
              <a:buNone/>
              <a:defRPr sz="2133" b="1"/>
            </a:lvl5pPr>
            <a:lvl6pPr marL="2997601" indent="0">
              <a:buNone/>
              <a:defRPr sz="2133" b="1"/>
            </a:lvl6pPr>
            <a:lvl7pPr marL="3597105" indent="0">
              <a:buNone/>
              <a:defRPr sz="2133" b="1"/>
            </a:lvl7pPr>
            <a:lvl8pPr marL="4196662" indent="0">
              <a:buNone/>
              <a:defRPr sz="2133" b="1"/>
            </a:lvl8pPr>
            <a:lvl9pPr marL="4796141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7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14" y="1535117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9530" indent="0">
              <a:buNone/>
              <a:defRPr sz="2667" b="1"/>
            </a:lvl2pPr>
            <a:lvl3pPr marL="1199033" indent="0">
              <a:buNone/>
              <a:defRPr sz="2400" b="1"/>
            </a:lvl3pPr>
            <a:lvl4pPr marL="1798590" indent="0">
              <a:buNone/>
              <a:defRPr sz="2133" b="1"/>
            </a:lvl4pPr>
            <a:lvl5pPr marL="2398071" indent="0">
              <a:buNone/>
              <a:defRPr sz="2133" b="1"/>
            </a:lvl5pPr>
            <a:lvl6pPr marL="2997601" indent="0">
              <a:buNone/>
              <a:defRPr sz="2133" b="1"/>
            </a:lvl6pPr>
            <a:lvl7pPr marL="3597105" indent="0">
              <a:buNone/>
              <a:defRPr sz="2133" b="1"/>
            </a:lvl7pPr>
            <a:lvl8pPr marL="4196662" indent="0">
              <a:buNone/>
              <a:defRPr sz="2133" b="1"/>
            </a:lvl8pPr>
            <a:lvl9pPr marL="4796141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414" y="2174877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746F14-3243-4A9F-9172-161B68385123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15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9FBC4-2E52-4932-BDDD-D247765A11DF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8466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7C3D57-DB8A-4851-903C-7A9CC68C95B3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4231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15" y="273053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84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15" y="143513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599530" indent="0">
              <a:buNone/>
              <a:defRPr sz="1600"/>
            </a:lvl2pPr>
            <a:lvl3pPr marL="1199033" indent="0">
              <a:buNone/>
              <a:defRPr sz="1333"/>
            </a:lvl3pPr>
            <a:lvl4pPr marL="1798590" indent="0">
              <a:buNone/>
              <a:defRPr sz="1200"/>
            </a:lvl4pPr>
            <a:lvl5pPr marL="2398071" indent="0">
              <a:buNone/>
              <a:defRPr sz="1200"/>
            </a:lvl5pPr>
            <a:lvl6pPr marL="2997601" indent="0">
              <a:buNone/>
              <a:defRPr sz="1200"/>
            </a:lvl6pPr>
            <a:lvl7pPr marL="3597105" indent="0">
              <a:buNone/>
              <a:defRPr sz="1200"/>
            </a:lvl7pPr>
            <a:lvl8pPr marL="4196662" indent="0">
              <a:buNone/>
              <a:defRPr sz="1200"/>
            </a:lvl8pPr>
            <a:lvl9pPr marL="4796141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5BE3D-078C-47D7-BD67-572F9809FC62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6812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6" y="4800605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6" y="612773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599530" indent="0">
              <a:buNone/>
              <a:defRPr sz="3733"/>
            </a:lvl2pPr>
            <a:lvl3pPr marL="1199033" indent="0">
              <a:buNone/>
              <a:defRPr sz="3200"/>
            </a:lvl3pPr>
            <a:lvl4pPr marL="1798590" indent="0">
              <a:buNone/>
              <a:defRPr sz="2667"/>
            </a:lvl4pPr>
            <a:lvl5pPr marL="2398071" indent="0">
              <a:buNone/>
              <a:defRPr sz="2667"/>
            </a:lvl5pPr>
            <a:lvl6pPr marL="2997601" indent="0">
              <a:buNone/>
              <a:defRPr sz="2667"/>
            </a:lvl6pPr>
            <a:lvl7pPr marL="3597105" indent="0">
              <a:buNone/>
              <a:defRPr sz="2667"/>
            </a:lvl7pPr>
            <a:lvl8pPr marL="4196662" indent="0">
              <a:buNone/>
              <a:defRPr sz="2667"/>
            </a:lvl8pPr>
            <a:lvl9pPr marL="4796141" indent="0">
              <a:buNone/>
              <a:defRPr sz="26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6" y="5367393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99530" indent="0">
              <a:buNone/>
              <a:defRPr sz="1600"/>
            </a:lvl2pPr>
            <a:lvl3pPr marL="1199033" indent="0">
              <a:buNone/>
              <a:defRPr sz="1333"/>
            </a:lvl3pPr>
            <a:lvl4pPr marL="1798590" indent="0">
              <a:buNone/>
              <a:defRPr sz="1200"/>
            </a:lvl4pPr>
            <a:lvl5pPr marL="2398071" indent="0">
              <a:buNone/>
              <a:defRPr sz="1200"/>
            </a:lvl5pPr>
            <a:lvl6pPr marL="2997601" indent="0">
              <a:buNone/>
              <a:defRPr sz="1200"/>
            </a:lvl6pPr>
            <a:lvl7pPr marL="3597105" indent="0">
              <a:buNone/>
              <a:defRPr sz="1200"/>
            </a:lvl7pPr>
            <a:lvl8pPr marL="4196662" indent="0">
              <a:buNone/>
              <a:defRPr sz="1200"/>
            </a:lvl8pPr>
            <a:lvl9pPr marL="4796141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A140E9-5646-41E6-89B1-4B7A2D018A1F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0867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7252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2B981-38E2-4844-A309-A5B9B285C0D8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87242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3" y="206379"/>
            <a:ext cx="2743200" cy="43878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28" y="206379"/>
            <a:ext cx="8026401" cy="43878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942ADD-67FE-478B-B99B-C4C97D032BB2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2179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789518" y="823384"/>
            <a:ext cx="10560049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1696700" y="6445252"/>
            <a:ext cx="493184" cy="4000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583" tIns="60791" rIns="121583" bIns="60791" anchor="ctr"/>
          <a:lstStyle/>
          <a:p>
            <a:pPr marL="0" marR="0" lvl="0" indent="0" algn="ctr" defTabSz="9195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ABDA65-55A1-497D-9CE4-8216E952DCC7}" type="slidenum">
              <a:rPr kumimoji="0" lang="ru-RU" altLang="ru-RU" sz="133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/>
              </a:rPr>
              <a:pPr marL="0" marR="0" lvl="0" indent="0" algn="ctr" defTabSz="919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683883" y="294217"/>
            <a:ext cx="10115549" cy="414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915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86367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670984" y="891117"/>
            <a:ext cx="10843683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11626945" y="6362701"/>
            <a:ext cx="289888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44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341347-16B7-4D26-8884-909D4FEA9615}" type="slidenum">
              <a:rPr kumimoji="0" lang="en-US" sz="1867" b="0" i="0" u="none" strike="noStrike" kern="1200" cap="none" spc="-9" normalizeH="0" baseline="0" noProof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r" defTabSz="944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67" b="0" i="0" u="none" strike="noStrike" kern="1200" cap="none" spc="-9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7032" y="350248"/>
            <a:ext cx="10841557" cy="4219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72"/>
              </a:spcAft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85946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1819467" y="6652685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90C685A1-940F-43A1-8625-2AB76DEAFEC5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4441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771293" y="3300736"/>
            <a:ext cx="7026676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GB" sz="3200" b="0" dirty="0">
                <a:solidFill>
                  <a:srgbClr val="2868A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372977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84254" y="5963438"/>
            <a:ext cx="2539145" cy="3069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57157" lvl="0" indent="-285744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pic>
        <p:nvPicPr>
          <p:cNvPr id="3" name="Picture 2" descr="Qr code&#10;&#10;Description automatically generated with medium confidence">
            <a:extLst>
              <a:ext uri="{FF2B5EF4-FFF2-40B4-BE49-F238E27FC236}">
                <a16:creationId xmlns:a16="http://schemas.microsoft.com/office/drawing/2014/main" id="{D2CC9884-CDBF-42DE-908E-55D642E548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9"/>
          <a:stretch/>
        </p:blipFill>
        <p:spPr>
          <a:xfrm>
            <a:off x="0" y="1"/>
            <a:ext cx="6224955" cy="573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42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857661" y="2834392"/>
            <a:ext cx="7026676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GB" sz="3200" b="0" dirty="0">
                <a:solidFill>
                  <a:srgbClr val="2868A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372977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7661" y="5963438"/>
            <a:ext cx="2539145" cy="30698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57157" lvl="0" indent="-285744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pic>
        <p:nvPicPr>
          <p:cNvPr id="3" name="Picture 2" descr="Qr code&#10;&#10;Description automatically generated with medium confidence">
            <a:extLst>
              <a:ext uri="{FF2B5EF4-FFF2-40B4-BE49-F238E27FC236}">
                <a16:creationId xmlns:a16="http://schemas.microsoft.com/office/drawing/2014/main" id="{D2CC9884-CDBF-42DE-908E-55D642E548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9"/>
          <a:stretch/>
        </p:blipFill>
        <p:spPr>
          <a:xfrm rot="10800000">
            <a:off x="6611112" y="1718538"/>
            <a:ext cx="5580888" cy="513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52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именование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55541" y="3108009"/>
            <a:ext cx="6165320" cy="48902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lang="ru-RU" sz="2000" b="0" dirty="0">
                <a:solidFill>
                  <a:srgbClr val="2868A4"/>
                </a:solidFill>
                <a:latin typeface="+mn-lt"/>
              </a:defRPr>
            </a:lvl1pPr>
          </a:lstStyle>
          <a:p>
            <a:pPr marL="0" lvl="0"/>
            <a:r>
              <a:rPr lang="ru-RU" dirty="0"/>
              <a:t>Наименование раздел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014C988-CF4E-4FB2-B291-F3F7E19AB21B}"/>
              </a:ext>
            </a:extLst>
          </p:cNvPr>
          <p:cNvSpPr/>
          <p:nvPr/>
        </p:nvSpPr>
        <p:spPr>
          <a:xfrm>
            <a:off x="646122" y="517428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ED81E5F-D271-492B-8AC5-C6C4F8E7B7D0}"/>
              </a:ext>
            </a:extLst>
          </p:cNvPr>
          <p:cNvSpPr/>
          <p:nvPr/>
        </p:nvSpPr>
        <p:spPr>
          <a:xfrm>
            <a:off x="635960" y="6365081"/>
            <a:ext cx="10903579" cy="77467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6DC4095-AB42-45E5-9B92-495940244BE1}"/>
              </a:ext>
            </a:extLst>
          </p:cNvPr>
          <p:cNvSpPr/>
          <p:nvPr/>
        </p:nvSpPr>
        <p:spPr>
          <a:xfrm>
            <a:off x="646122" y="517428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71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2" y="6623033"/>
            <a:ext cx="7940235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740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 примеч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2">
            <a:extLst>
              <a:ext uri="{FF2B5EF4-FFF2-40B4-BE49-F238E27FC236}">
                <a16:creationId xmlns:a16="http://schemas.microsoft.com/office/drawing/2014/main" id="{28DFDB07-A563-4E06-B116-FDE6619E9A7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5" y="6278683"/>
            <a:ext cx="11803815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246780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4863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7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 в одну строку</a:t>
            </a:r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4" y="5527515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7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4143290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Объект 2">
            <a:extLst>
              <a:ext uri="{FF2B5EF4-FFF2-40B4-BE49-F238E27FC236}">
                <a16:creationId xmlns:a16="http://schemas.microsoft.com/office/drawing/2014/main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7" y="5672995"/>
            <a:ext cx="11660092" cy="80632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 в две строк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58804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299789"/>
            <a:ext cx="1201372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7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C07EA95C-9312-4964-8AB3-4D0F16B93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04DCB5C-2929-4940-84CB-D8809A986AB6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145C1714-B250-482C-9A0A-D27FBF15E43D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305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33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3 и более стр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Объект 2">
            <a:extLst>
              <a:ext uri="{FF2B5EF4-FFF2-40B4-BE49-F238E27FC236}">
                <a16:creationId xmlns:a16="http://schemas.microsoft.com/office/drawing/2014/main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7" y="5478597"/>
            <a:ext cx="11660092" cy="10007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 в три и более стро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373297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085047"/>
            <a:ext cx="12013727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7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C48E7AB1-16CC-4D8A-9A9A-E0C0EB68F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F19E32DF-2F64-407B-B14B-6FC60136288D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D981B318-7E99-484F-AF53-BD116072692F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581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19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справ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Объект 2">
            <a:extLst>
              <a:ext uri="{FF2B5EF4-FFF2-40B4-BE49-F238E27FC236}">
                <a16:creationId xmlns:a16="http://schemas.microsoft.com/office/drawing/2014/main" id="{F822D7FF-FD66-4F7E-AF0E-25C8ACD6C44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5" y="6269805"/>
            <a:ext cx="11803815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5647221B-A6CB-4725-BFCF-2852A728E33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950037" y="1190627"/>
            <a:ext cx="2881603" cy="5064701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285744" indent="-285744" defTabSz="354004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id="{C7BF3D39-2DD0-445F-A357-4A6009AE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164C7738-2902-4A44-BD47-9DBCA12C1991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21580C86-7E53-4A12-BD08-841090B0E3C1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8679F4D9-0F70-4AD0-A2E8-53537E0B8451}"/>
              </a:ext>
            </a:extLst>
          </p:cNvPr>
          <p:cNvSpPr txBox="1">
            <a:spLocks/>
          </p:cNvSpPr>
          <p:nvPr/>
        </p:nvSpPr>
        <p:spPr>
          <a:xfrm>
            <a:off x="9571891" y="6623033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kk-KZ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Акимат Атырауской области</a:t>
            </a:r>
            <a:endParaRPr kumimoji="0" lang="en-US" sz="105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Segoe UI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86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4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 + вывод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3" y="212890"/>
            <a:ext cx="11702531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D528B77F-8D31-4953-8A36-D03DC21A43EC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7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1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4" y="5527515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77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0" indent="-19782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6711F5B2-D4F4-4EFC-97A5-4A01DC5A5A3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950036" y="1023044"/>
            <a:ext cx="2954341" cy="4309449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0" indent="-285744" defTabSz="354004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82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70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77"/>
            <a:r>
              <a:rPr lang="ru-RU" dirty="0"/>
              <a:t>Вывод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0533B6F-8CB1-43F0-880E-F6D500423896}"/>
              </a:ext>
            </a:extLst>
          </p:cNvPr>
          <p:cNvSpPr txBox="1">
            <a:spLocks/>
          </p:cNvSpPr>
          <p:nvPr/>
        </p:nvSpPr>
        <p:spPr>
          <a:xfrm>
            <a:off x="9571891" y="6623033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kk-KZ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Акимат Атырауской области</a:t>
            </a:r>
            <a:endParaRPr kumimoji="0" lang="en-US" sz="105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Segoe UI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74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Объект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84369320-5958-488D-A676-EE94D22D5A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1" y="6600287"/>
            <a:ext cx="505403" cy="2344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1219170"/>
            <a:fld id="{BC5217A8-0E06-4059-AC45-433E2E67A85D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defTabSz="1219170"/>
              <a:t>‹#›</a:t>
            </a:fld>
            <a:endParaRPr lang="en-US" dirty="0">
              <a:solidFill>
                <a:srgbClr val="2868A4"/>
              </a:solidFill>
            </a:endParaRP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AB8AEA25-37A4-4EC5-9E25-BD24003CDE5C}"/>
              </a:ext>
            </a:extLst>
          </p:cNvPr>
          <p:cNvSpPr txBox="1">
            <a:spLocks/>
          </p:cNvSpPr>
          <p:nvPr/>
        </p:nvSpPr>
        <p:spPr>
          <a:xfrm>
            <a:off x="-3711" y="6623033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Комплексный план социально-экономического развития Атырауской области</a:t>
            </a:r>
            <a:r>
              <a:rPr kumimoji="0" lang="en-US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 </a:t>
            </a:r>
            <a:r>
              <a:rPr kumimoji="0" lang="ru-RU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на 2021-2025 годы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88C93AF-BA4F-49BE-B123-15C01E0C5C0E}"/>
              </a:ext>
            </a:extLst>
          </p:cNvPr>
          <p:cNvCxnSpPr/>
          <p:nvPr/>
        </p:nvCxnSpPr>
        <p:spPr>
          <a:xfrm>
            <a:off x="1" y="6569475"/>
            <a:ext cx="12197919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A73B7A2-A60E-4030-96E7-1E6EBACA5841}"/>
              </a:ext>
            </a:extLst>
          </p:cNvPr>
          <p:cNvSpPr txBox="1">
            <a:spLocks/>
          </p:cNvSpPr>
          <p:nvPr/>
        </p:nvSpPr>
        <p:spPr>
          <a:xfrm>
            <a:off x="9571891" y="6623033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r" defTabSz="12191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kk-KZ" sz="1051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Tahoma" panose="020B0604030504040204" pitchFamily="34" charset="0"/>
                <a:cs typeface="Segoe UI" panose="020B0502040204020203" pitchFamily="34" charset="0"/>
              </a:rPr>
              <a:t>Акимат Атырауской области</a:t>
            </a:r>
            <a:endParaRPr kumimoji="0" lang="en-US" sz="1051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Segoe UI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512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11">
          <p15:clr>
            <a:srgbClr val="A4A3A4"/>
          </p15:clr>
        </p15:guide>
        <p15:guide id="3" orient="horz" pos="179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45698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9B280DE-C71E-41F4-B2C9-4C3A06318F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5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6975"/>
          <a:stretch/>
        </p:blipFill>
        <p:spPr>
          <a:xfrm>
            <a:off x="635959" y="487974"/>
            <a:ext cx="10920084" cy="5882053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F39D0A4-72AC-4700-9493-8A0925E13C41}"/>
              </a:ext>
            </a:extLst>
          </p:cNvPr>
          <p:cNvSpPr/>
          <p:nvPr/>
        </p:nvSpPr>
        <p:spPr>
          <a:xfrm>
            <a:off x="635960" y="6335775"/>
            <a:ext cx="10920083" cy="84792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3ADC45C-FB17-433C-937B-7E3682BB099B}"/>
              </a:ext>
            </a:extLst>
          </p:cNvPr>
          <p:cNvSpPr txBox="1"/>
          <p:nvPr/>
        </p:nvSpPr>
        <p:spPr>
          <a:xfrm>
            <a:off x="3816124" y="5225921"/>
            <a:ext cx="6705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г. Нур-Султан, ул. Кунаева, 2, 10 этаж 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|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+7 7172 95 48 49 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|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info@csi.kz 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|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   csi.kz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364E9A0-D56C-44D7-A6D7-36ACC084C04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397" y="2492593"/>
            <a:ext cx="1653279" cy="1162051"/>
          </a:xfrm>
          <a:prstGeom prst="rect">
            <a:avLst/>
          </a:prstGeom>
        </p:spPr>
      </p:pic>
      <p:sp>
        <p:nvSpPr>
          <p:cNvPr id="19" name="Прямоугольник 12">
            <a:extLst>
              <a:ext uri="{FF2B5EF4-FFF2-40B4-BE49-F238E27FC236}">
                <a16:creationId xmlns:a16="http://schemas.microsoft.com/office/drawing/2014/main" id="{818D98BB-9E05-4490-9E91-6F8A1AE2149C}"/>
              </a:ext>
            </a:extLst>
          </p:cNvPr>
          <p:cNvSpPr/>
          <p:nvPr/>
        </p:nvSpPr>
        <p:spPr>
          <a:xfrm>
            <a:off x="7797925" y="1506859"/>
            <a:ext cx="256568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Стратегический консалтинг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E2826A7C-4D0D-48B3-9C52-E88DDF435CE0}"/>
              </a:ext>
            </a:extLst>
          </p:cNvPr>
          <p:cNvSpPr/>
          <p:nvPr/>
        </p:nvSpPr>
        <p:spPr>
          <a:xfrm>
            <a:off x="7797925" y="3000744"/>
            <a:ext cx="256568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HR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-консалтинг</a:t>
            </a:r>
          </a:p>
        </p:txBody>
      </p:sp>
      <p:sp>
        <p:nvSpPr>
          <p:cNvPr id="21" name="Прямоугольник 12">
            <a:extLst>
              <a:ext uri="{FF2B5EF4-FFF2-40B4-BE49-F238E27FC236}">
                <a16:creationId xmlns:a16="http://schemas.microsoft.com/office/drawing/2014/main" id="{77AABB6F-9C59-458D-94A2-AAC9A1820935}"/>
              </a:ext>
            </a:extLst>
          </p:cNvPr>
          <p:cNvSpPr/>
          <p:nvPr/>
        </p:nvSpPr>
        <p:spPr>
          <a:xfrm>
            <a:off x="7797925" y="4504106"/>
            <a:ext cx="256568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Медиаконсалтинг</a:t>
            </a:r>
          </a:p>
        </p:txBody>
      </p:sp>
      <p:sp>
        <p:nvSpPr>
          <p:cNvPr id="22" name="Прямоугольник 12">
            <a:extLst>
              <a:ext uri="{FF2B5EF4-FFF2-40B4-BE49-F238E27FC236}">
                <a16:creationId xmlns:a16="http://schemas.microsoft.com/office/drawing/2014/main" id="{472F5ACF-4FEE-43C7-8B85-45AAFB6AC3CA}"/>
              </a:ext>
            </a:extLst>
          </p:cNvPr>
          <p:cNvSpPr/>
          <p:nvPr/>
        </p:nvSpPr>
        <p:spPr>
          <a:xfrm>
            <a:off x="7797925" y="3506350"/>
            <a:ext cx="256568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Технологический консалтинг</a:t>
            </a:r>
          </a:p>
        </p:txBody>
      </p:sp>
      <p:sp>
        <p:nvSpPr>
          <p:cNvPr id="30" name="Прямоугольник 12">
            <a:extLst>
              <a:ext uri="{FF2B5EF4-FFF2-40B4-BE49-F238E27FC236}">
                <a16:creationId xmlns:a16="http://schemas.microsoft.com/office/drawing/2014/main" id="{6742A1D1-C77A-4BE3-B28C-D1CC2EFD5813}"/>
              </a:ext>
            </a:extLst>
          </p:cNvPr>
          <p:cNvSpPr/>
          <p:nvPr/>
        </p:nvSpPr>
        <p:spPr>
          <a:xfrm>
            <a:off x="7797925" y="2002782"/>
            <a:ext cx="2565684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Единая статистическая база</a:t>
            </a:r>
          </a:p>
        </p:txBody>
      </p:sp>
      <p:sp>
        <p:nvSpPr>
          <p:cNvPr id="31" name="Прямоугольник 12">
            <a:extLst>
              <a:ext uri="{FF2B5EF4-FFF2-40B4-BE49-F238E27FC236}">
                <a16:creationId xmlns:a16="http://schemas.microsoft.com/office/drawing/2014/main" id="{E6CEEE2F-6010-4F8F-B47B-1E78FD356796}"/>
              </a:ext>
            </a:extLst>
          </p:cNvPr>
          <p:cNvSpPr/>
          <p:nvPr/>
        </p:nvSpPr>
        <p:spPr>
          <a:xfrm>
            <a:off x="6919506" y="4009447"/>
            <a:ext cx="3444103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Юридический и налоговый консалтинг</a:t>
            </a:r>
          </a:p>
        </p:txBody>
      </p:sp>
      <p:sp>
        <p:nvSpPr>
          <p:cNvPr id="32" name="Прямоугольник 12">
            <a:extLst>
              <a:ext uri="{FF2B5EF4-FFF2-40B4-BE49-F238E27FC236}">
                <a16:creationId xmlns:a16="http://schemas.microsoft.com/office/drawing/2014/main" id="{DEB6586F-37FD-4E3A-8BF3-91747078142E}"/>
              </a:ext>
            </a:extLst>
          </p:cNvPr>
          <p:cNvSpPr/>
          <p:nvPr/>
        </p:nvSpPr>
        <p:spPr>
          <a:xfrm>
            <a:off x="7077468" y="2486648"/>
            <a:ext cx="328614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Финансовый консалтинг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5E06674B-8993-4E39-95FE-F076C8C4351C}"/>
              </a:ext>
            </a:extLst>
          </p:cNvPr>
          <p:cNvSpPr/>
          <p:nvPr/>
        </p:nvSpPr>
        <p:spPr>
          <a:xfrm>
            <a:off x="3797710" y="1410958"/>
            <a:ext cx="344410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Segoe UI Semilight" panose="020B0402040204020203" pitchFamily="34" charset="0"/>
              </a:rPr>
              <a:t>Center for Strategic Initiatives</a:t>
            </a: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Stat</a:t>
            </a: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Capital</a:t>
            </a: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Academy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light" panose="020B0402040204020203" pitchFamily="34" charset="0"/>
              <a:ea typeface="+mn-ea"/>
              <a:cs typeface="Segoe UI Semilight" panose="020B0402040204020203" pitchFamily="34" charset="0"/>
            </a:endParaRP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Research &amp; Lab</a:t>
            </a: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Legal &amp; Tax Advisory</a:t>
            </a:r>
          </a:p>
          <a:p>
            <a:pPr marL="0" marR="0" lvl="0" indent="0" algn="l" defTabSz="3729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Media &amp; Communications </a:t>
            </a:r>
          </a:p>
        </p:txBody>
      </p:sp>
    </p:spTree>
    <p:extLst>
      <p:ext uri="{BB962C8B-B14F-4D97-AF65-F5344CB8AC3E}">
        <p14:creationId xmlns:p14="http://schemas.microsoft.com/office/powerpoint/2010/main" val="310260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9EEB0D-8D38-4F43-B164-579EEB656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kk-KZ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85CAC20-20F5-4CD3-9301-DDCCB31DF6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kk-KZ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2541448-B321-4C77-95B2-895A2D43D0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1219170"/>
            <a:endParaRPr lang="kk-KZ" sz="240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4A23673-7AA7-4853-8646-41FF4815C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1219170"/>
            <a:endParaRPr lang="kk-KZ" sz="240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694FB3F-3E8C-4742-BE4E-CF417445C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1219170"/>
            <a:fld id="{DB2D1BBD-5A57-42ED-84B5-488B9D7D90F1}" type="slidenum">
              <a:rPr lang="kk-KZ" sz="2400" smtClean="0">
                <a:solidFill>
                  <a:prstClr val="black"/>
                </a:solidFill>
              </a:rPr>
              <a:pPr defTabSz="1219170"/>
              <a:t>‹#›</a:t>
            </a:fld>
            <a:endParaRPr lang="kk-KZ" sz="24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7031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4"/>
            <a:ext cx="12192000" cy="3644537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lIns="121917" tIns="60958" rIns="121917" bIns="60958" rtlCol="0">
            <a:noAutofit/>
          </a:bodyPr>
          <a:lstStyle>
            <a:lvl1pPr>
              <a:defRPr sz="14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38200" y="6356353"/>
            <a:ext cx="2743200" cy="366183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38600" y="6356353"/>
            <a:ext cx="4114800" cy="366183"/>
          </a:xfrm>
          <a:prstGeom prst="rect">
            <a:avLst/>
          </a:prstGeom>
        </p:spPr>
        <p:txBody>
          <a:bodyPr lIns="121917" tIns="60958" rIns="121917" bIns="60958"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33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4407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63738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6914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64964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91" indent="0">
              <a:buNone/>
              <a:defRPr sz="2800"/>
            </a:lvl2pPr>
            <a:lvl3pPr marL="913810" indent="0">
              <a:buNone/>
              <a:defRPr sz="2400"/>
            </a:lvl3pPr>
            <a:lvl4pPr marL="1370716" indent="0">
              <a:buNone/>
              <a:defRPr sz="2000"/>
            </a:lvl4pPr>
            <a:lvl5pPr marL="1827621" indent="0">
              <a:buNone/>
              <a:defRPr sz="2000"/>
            </a:lvl5pPr>
            <a:lvl6pPr marL="2284542" indent="0">
              <a:buNone/>
              <a:defRPr sz="2000"/>
            </a:lvl6pPr>
            <a:lvl7pPr marL="2741430" indent="0">
              <a:buNone/>
              <a:defRPr sz="2000"/>
            </a:lvl7pPr>
            <a:lvl8pPr marL="3198320" indent="0">
              <a:buNone/>
              <a:defRPr sz="2000"/>
            </a:lvl8pPr>
            <a:lvl9pPr marL="3655211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6428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ags" Target="../tags/tag1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vmlDrawing" Target="../drawings/vmlDrawing1.v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4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4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90" tIns="45695" rIns="91390" bIns="4569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3482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987" r:id="rId16"/>
  </p:sldLayoutIdLst>
  <p:hf hdr="0" ftr="0" dt="0"/>
  <p:txStyles>
    <p:titleStyle>
      <a:lvl1pPr algn="l" defTabSz="9138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1" indent="-228461" algn="l" defTabSz="9138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8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6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605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97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78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70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9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81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2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43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21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8" y="274643"/>
            <a:ext cx="10972799" cy="1143000"/>
          </a:xfrm>
          <a:prstGeom prst="rect">
            <a:avLst/>
          </a:prstGeom>
        </p:spPr>
        <p:txBody>
          <a:bodyPr vert="horz" lIns="119747" tIns="59878" rIns="119747" bIns="5987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8" y="1600206"/>
            <a:ext cx="10972799" cy="4525963"/>
          </a:xfrm>
          <a:prstGeom prst="rect">
            <a:avLst/>
          </a:prstGeom>
        </p:spPr>
        <p:txBody>
          <a:bodyPr vert="horz" lIns="119747" tIns="59878" rIns="119747" bIns="5987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5" y="6356356"/>
            <a:ext cx="2844799" cy="365125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6"/>
            <a:ext cx="3860800" cy="365125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99033">
              <a:defRPr/>
            </a:pPr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37" y="6356356"/>
            <a:ext cx="2844799" cy="365125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99033">
              <a:defRPr/>
            </a:pPr>
            <a:fld id="{C8FAE728-353B-469A-8C71-9ED453E3CE90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  <a:sym typeface="Arial"/>
              </a:rPr>
              <a:pPr defTabSz="1199033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676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</p:sldLayoutIdLst>
  <p:hf hdr="0" ftr="0" dt="0"/>
  <p:txStyles>
    <p:titleStyle>
      <a:lvl1pPr algn="ctr" defTabSz="1199033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9611" indent="-449611" algn="l" defTabSz="1199033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74229" indent="-374701" algn="l" defTabSz="1199033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498800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098329" indent="-299739" algn="l" defTabSz="1199033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697811" indent="-299739" algn="l" defTabSz="1199033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297360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896869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496398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095883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953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9033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859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9807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760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7105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96662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9614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516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747" tIns="59878" rIns="119747" bIns="5987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9747" tIns="59878" rIns="119747" bIns="598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l" defTabSz="1199033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None/>
              <a:defRPr sz="1600">
                <a:solidFill>
                  <a:prstClr val="black">
                    <a:tint val="75000"/>
                  </a:prstClr>
                </a:solidFill>
                <a:latin typeface="Calibri"/>
                <a:sym typeface="Arial"/>
              </a:defRPr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ctr" defTabSz="1199033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None/>
              <a:defRPr sz="1600">
                <a:solidFill>
                  <a:prstClr val="black">
                    <a:tint val="75000"/>
                  </a:prstClr>
                </a:solidFill>
                <a:latin typeface="Calibri"/>
                <a:sym typeface="Arial"/>
              </a:defRPr>
            </a:lvl1pPr>
          </a:lstStyle>
          <a:p>
            <a:pPr>
              <a:defRPr/>
            </a:pPr>
            <a:endParaRPr lang="ru-RU"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119747" tIns="59878" rIns="119747" bIns="59878" rtlCol="0" anchor="ctr"/>
          <a:lstStyle>
            <a:lvl1pPr algn="r" defTabSz="1199033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None/>
              <a:defRPr sz="1600">
                <a:solidFill>
                  <a:prstClr val="black">
                    <a:tint val="75000"/>
                  </a:prstClr>
                </a:solidFill>
                <a:latin typeface="Calibri"/>
                <a:sym typeface="Arial"/>
              </a:defRPr>
            </a:lvl1pPr>
          </a:lstStyle>
          <a:p>
            <a:pPr>
              <a:defRPr/>
            </a:pPr>
            <a:fld id="{C1CA9514-4CFC-456D-8338-98E2DC728A72}" type="slidenum">
              <a:rPr lang="ru-RU" smtClean="0"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783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</p:sldLayoutIdLst>
  <p:hf hdr="0" ftr="0" dt="0"/>
  <p:txStyles>
    <p:titleStyle>
      <a:lvl1pPr algn="ctr" defTabSz="1198003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198003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2pPr>
      <a:lvl3pPr algn="ctr" defTabSz="1198003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3pPr>
      <a:lvl4pPr algn="ctr" defTabSz="1198003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4pPr>
      <a:lvl5pPr algn="ctr" defTabSz="1198003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5pPr>
      <a:lvl6pPr marL="609585" algn="ctr" defTabSz="1198003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6pPr>
      <a:lvl7pPr marL="1219170" algn="ctr" defTabSz="1198003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7pPr>
      <a:lvl8pPr marL="1828754" algn="ctr" defTabSz="1198003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8pPr>
      <a:lvl9pPr marL="2438339" algn="ctr" defTabSz="1198003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448722" indent="-448722" algn="l" defTabSz="119800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73642" indent="-374641" algn="l" defTabSz="119800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498563" indent="-298443" algn="l" defTabSz="119800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097565" indent="-298443" algn="l" defTabSz="119800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696566" indent="-298443" algn="l" defTabSz="119800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297360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896869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496398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095883" indent="-299739" algn="l" defTabSz="1199033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953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99033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98590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9807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760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7105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96662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96141" algn="l" defTabSz="119903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FE7A0FE-2092-4AC2-8A80-E97555D9BDAE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FE7A0FE-2092-4AC2-8A80-E97555D9BD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Объект 6" hidden="1">
            <a:extLst>
              <a:ext uri="{FF2B5EF4-FFF2-40B4-BE49-F238E27FC236}">
                <a16:creationId xmlns:a16="http://schemas.microsoft.com/office/drawing/2014/main" id="{D6363BED-BD76-4DB9-9666-355119729489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101" y="1101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5" name="Объект 6" hidden="1">
                        <a:extLst>
                          <a:ext uri="{FF2B5EF4-FFF2-40B4-BE49-F238E27FC236}">
                            <a16:creationId xmlns:a16="http://schemas.microsoft.com/office/drawing/2014/main" id="{D6363BED-BD76-4DB9-9666-35511972948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01" y="1101"/>
                        <a:ext cx="1099" cy="1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82DCC7A5-076C-4FFE-941D-8D86AE3D2C3B}"/>
              </a:ext>
            </a:extLst>
          </p:cNvPr>
          <p:cNvGrpSpPr/>
          <p:nvPr/>
        </p:nvGrpSpPr>
        <p:grpSpPr>
          <a:xfrm>
            <a:off x="12622033" y="98773"/>
            <a:ext cx="1183961" cy="5897249"/>
            <a:chOff x="12698232" y="98772"/>
            <a:chExt cx="1183961" cy="5897249"/>
          </a:xfrm>
        </p:grpSpPr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569A105E-EADF-47CB-B909-03C395506845}"/>
                </a:ext>
              </a:extLst>
            </p:cNvPr>
            <p:cNvSpPr/>
            <p:nvPr/>
          </p:nvSpPr>
          <p:spPr>
            <a:xfrm>
              <a:off x="12698232" y="98772"/>
              <a:ext cx="11839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сновные темные цвета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4AB545AF-BDDD-427F-B686-A5D21371ED41}"/>
                </a:ext>
              </a:extLst>
            </p:cNvPr>
            <p:cNvSpPr/>
            <p:nvPr/>
          </p:nvSpPr>
          <p:spPr>
            <a:xfrm>
              <a:off x="12698232" y="1642943"/>
              <a:ext cx="108126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сновные светлые цвета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E3E3A1DF-E4AF-4D3F-B1CF-992C6A4F66F5}"/>
                </a:ext>
              </a:extLst>
            </p:cNvPr>
            <p:cNvSpPr/>
            <p:nvPr/>
          </p:nvSpPr>
          <p:spPr>
            <a:xfrm>
              <a:off x="12698232" y="3880386"/>
              <a:ext cx="8853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сновной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цвет текста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5742CE39-92FA-4BFD-A08D-473DA2EF6EC4}"/>
                </a:ext>
              </a:extLst>
            </p:cNvPr>
            <p:cNvSpPr/>
            <p:nvPr/>
          </p:nvSpPr>
          <p:spPr>
            <a:xfrm>
              <a:off x="12698232" y="4638464"/>
              <a:ext cx="86627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иний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цвет текста</a:t>
              </a:r>
            </a:p>
          </p:txBody>
        </p:sp>
        <p:sp>
          <p:nvSpPr>
            <p:cNvPr id="77" name="Прямоугольник 76">
              <a:extLst>
                <a:ext uri="{FF2B5EF4-FFF2-40B4-BE49-F238E27FC236}">
                  <a16:creationId xmlns:a16="http://schemas.microsoft.com/office/drawing/2014/main" id="{70BFE848-4A7A-4AC5-BA1D-7901E5F6C8E2}"/>
                </a:ext>
              </a:extLst>
            </p:cNvPr>
            <p:cNvSpPr/>
            <p:nvPr/>
          </p:nvSpPr>
          <p:spPr>
            <a:xfrm>
              <a:off x="12745916" y="4294402"/>
              <a:ext cx="723341" cy="2004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BAF208FB-D5E4-4D4B-8794-FFC706E15CC8}"/>
                </a:ext>
              </a:extLst>
            </p:cNvPr>
            <p:cNvSpPr/>
            <p:nvPr/>
          </p:nvSpPr>
          <p:spPr>
            <a:xfrm>
              <a:off x="12745916" y="545940"/>
              <a:ext cx="723341" cy="21613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A8716A67-D9C5-4829-9F67-6DE8F2B062DA}"/>
                </a:ext>
              </a:extLst>
            </p:cNvPr>
            <p:cNvSpPr/>
            <p:nvPr/>
          </p:nvSpPr>
          <p:spPr>
            <a:xfrm>
              <a:off x="12745916" y="5041741"/>
              <a:ext cx="723341" cy="2161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id="{A9F0E3A9-F0FF-474F-9A97-96C8A6DBCD80}"/>
                </a:ext>
              </a:extLst>
            </p:cNvPr>
            <p:cNvSpPr/>
            <p:nvPr/>
          </p:nvSpPr>
          <p:spPr>
            <a:xfrm>
              <a:off x="12745916" y="764494"/>
              <a:ext cx="723341" cy="2161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:a16="http://schemas.microsoft.com/office/drawing/2014/main" id="{BD4D9EED-6698-477E-9766-9EDE30B4D1F1}"/>
                </a:ext>
              </a:extLst>
            </p:cNvPr>
            <p:cNvSpPr/>
            <p:nvPr/>
          </p:nvSpPr>
          <p:spPr>
            <a:xfrm>
              <a:off x="12745916" y="2077411"/>
              <a:ext cx="723341" cy="21613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27526CB7-05F6-485D-89CF-3B1D27CCA288}"/>
                </a:ext>
              </a:extLst>
            </p:cNvPr>
            <p:cNvSpPr/>
            <p:nvPr/>
          </p:nvSpPr>
          <p:spPr>
            <a:xfrm>
              <a:off x="12745916" y="2295965"/>
              <a:ext cx="723341" cy="2161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8E137BEE-8133-4AE3-B6E5-7BAC9334B4FC}"/>
                </a:ext>
              </a:extLst>
            </p:cNvPr>
            <p:cNvSpPr/>
            <p:nvPr/>
          </p:nvSpPr>
          <p:spPr>
            <a:xfrm>
              <a:off x="12745916" y="980633"/>
              <a:ext cx="723341" cy="21613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2D021895-4E51-480C-9949-38F6DCC8C97D}"/>
                </a:ext>
              </a:extLst>
            </p:cNvPr>
            <p:cNvSpPr/>
            <p:nvPr/>
          </p:nvSpPr>
          <p:spPr>
            <a:xfrm>
              <a:off x="12745916" y="1196772"/>
              <a:ext cx="723341" cy="2161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1768F29C-7ACA-4EB9-A4B2-55CBA0F1CD33}"/>
                </a:ext>
              </a:extLst>
            </p:cNvPr>
            <p:cNvSpPr/>
            <p:nvPr/>
          </p:nvSpPr>
          <p:spPr>
            <a:xfrm>
              <a:off x="12745916" y="2512104"/>
              <a:ext cx="723341" cy="21613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9C387E76-DC0E-4497-A8FD-9CB579951FE0}"/>
                </a:ext>
              </a:extLst>
            </p:cNvPr>
            <p:cNvSpPr/>
            <p:nvPr/>
          </p:nvSpPr>
          <p:spPr>
            <a:xfrm>
              <a:off x="12745916" y="2726271"/>
              <a:ext cx="723341" cy="21613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Прямоугольник 86">
              <a:extLst>
                <a:ext uri="{FF2B5EF4-FFF2-40B4-BE49-F238E27FC236}">
                  <a16:creationId xmlns:a16="http://schemas.microsoft.com/office/drawing/2014/main" id="{1100F698-B185-4707-931A-45A284BE0058}"/>
                </a:ext>
              </a:extLst>
            </p:cNvPr>
            <p:cNvSpPr/>
            <p:nvPr/>
          </p:nvSpPr>
          <p:spPr>
            <a:xfrm>
              <a:off x="12745916" y="2933445"/>
              <a:ext cx="723341" cy="21613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Прямоугольник 87">
              <a:extLst>
                <a:ext uri="{FF2B5EF4-FFF2-40B4-BE49-F238E27FC236}">
                  <a16:creationId xmlns:a16="http://schemas.microsoft.com/office/drawing/2014/main" id="{755C4F21-518B-41E0-AAF6-ED550E737E63}"/>
                </a:ext>
              </a:extLst>
            </p:cNvPr>
            <p:cNvSpPr/>
            <p:nvPr/>
          </p:nvSpPr>
          <p:spPr>
            <a:xfrm>
              <a:off x="12745916" y="3147612"/>
              <a:ext cx="723341" cy="21613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Прямоугольник 88">
              <a:extLst>
                <a:ext uri="{FF2B5EF4-FFF2-40B4-BE49-F238E27FC236}">
                  <a16:creationId xmlns:a16="http://schemas.microsoft.com/office/drawing/2014/main" id="{961240AD-4730-40D9-B977-5B923B513E83}"/>
                </a:ext>
              </a:extLst>
            </p:cNvPr>
            <p:cNvSpPr/>
            <p:nvPr/>
          </p:nvSpPr>
          <p:spPr>
            <a:xfrm>
              <a:off x="12745916" y="3362765"/>
              <a:ext cx="723341" cy="21613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Прямоугольник 89">
              <a:extLst>
                <a:ext uri="{FF2B5EF4-FFF2-40B4-BE49-F238E27FC236}">
                  <a16:creationId xmlns:a16="http://schemas.microsoft.com/office/drawing/2014/main" id="{FB804392-4282-4137-8E33-2604A30487CF}"/>
                </a:ext>
              </a:extLst>
            </p:cNvPr>
            <p:cNvSpPr/>
            <p:nvPr/>
          </p:nvSpPr>
          <p:spPr>
            <a:xfrm>
              <a:off x="12745916" y="5779882"/>
              <a:ext cx="723341" cy="21613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1" name="Прямоугольник 90">
              <a:extLst>
                <a:ext uri="{FF2B5EF4-FFF2-40B4-BE49-F238E27FC236}">
                  <a16:creationId xmlns:a16="http://schemas.microsoft.com/office/drawing/2014/main" id="{C9D52172-9FCF-4EEB-AAE5-43C0494184F4}"/>
                </a:ext>
              </a:extLst>
            </p:cNvPr>
            <p:cNvSpPr/>
            <p:nvPr/>
          </p:nvSpPr>
          <p:spPr>
            <a:xfrm>
              <a:off x="12698232" y="5376605"/>
              <a:ext cx="11839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Цвет исходника/ примечания</a:t>
              </a:r>
            </a:p>
          </p:txBody>
        </p:sp>
      </p:grp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716479B1-9947-4D84-8B8C-ADD8F6E6C377}"/>
              </a:ext>
            </a:extLst>
          </p:cNvPr>
          <p:cNvGrpSpPr/>
          <p:nvPr/>
        </p:nvGrpSpPr>
        <p:grpSpPr>
          <a:xfrm>
            <a:off x="-1258160" y="98773"/>
            <a:ext cx="809125" cy="6601537"/>
            <a:chOff x="-1232760" y="98772"/>
            <a:chExt cx="809125" cy="6601537"/>
          </a:xfrm>
        </p:grpSpPr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54082D37-FD7B-4117-B677-0E2E206AB8B7}"/>
                </a:ext>
              </a:extLst>
            </p:cNvPr>
            <p:cNvSpPr/>
            <p:nvPr/>
          </p:nvSpPr>
          <p:spPr>
            <a:xfrm>
              <a:off x="-1194601" y="1646452"/>
              <a:ext cx="723341" cy="200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4" name="Прямоугольник 93">
              <a:extLst>
                <a:ext uri="{FF2B5EF4-FFF2-40B4-BE49-F238E27FC236}">
                  <a16:creationId xmlns:a16="http://schemas.microsoft.com/office/drawing/2014/main" id="{7F64A60B-21EC-40BD-95A9-DCD59AE8E367}"/>
                </a:ext>
              </a:extLst>
            </p:cNvPr>
            <p:cNvSpPr/>
            <p:nvPr/>
          </p:nvSpPr>
          <p:spPr>
            <a:xfrm>
              <a:off x="-1194601" y="2038237"/>
              <a:ext cx="723341" cy="20040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628B428A-0526-4661-A7F6-9CDCD223CF7C}"/>
                </a:ext>
              </a:extLst>
            </p:cNvPr>
            <p:cNvSpPr/>
            <p:nvPr/>
          </p:nvSpPr>
          <p:spPr>
            <a:xfrm>
              <a:off x="-1194601" y="2639144"/>
              <a:ext cx="723341" cy="200406"/>
            </a:xfrm>
            <a:prstGeom prst="rect">
              <a:avLst/>
            </a:prstGeom>
            <a:solidFill>
              <a:srgbClr val="CEE1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F0FF59BF-75D7-4BF1-931A-DE906ED73E30}"/>
                </a:ext>
              </a:extLst>
            </p:cNvPr>
            <p:cNvSpPr/>
            <p:nvPr/>
          </p:nvSpPr>
          <p:spPr>
            <a:xfrm>
              <a:off x="-1194601" y="2838661"/>
              <a:ext cx="723341" cy="200406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9F7E7CD3-790D-4E73-B0A0-BD34776426F9}"/>
                </a:ext>
              </a:extLst>
            </p:cNvPr>
            <p:cNvSpPr/>
            <p:nvPr/>
          </p:nvSpPr>
          <p:spPr>
            <a:xfrm>
              <a:off x="-1232760" y="98772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ттенки синего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id="{42D043B2-66B8-4C40-9E84-EE590010D5D9}"/>
                </a:ext>
              </a:extLst>
            </p:cNvPr>
            <p:cNvSpPr/>
            <p:nvPr/>
          </p:nvSpPr>
          <p:spPr>
            <a:xfrm>
              <a:off x="-1194601" y="3682420"/>
              <a:ext cx="723341" cy="2004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96B4FFB2-5233-43D1-BC68-80641F305BE4}"/>
                </a:ext>
              </a:extLst>
            </p:cNvPr>
            <p:cNvSpPr/>
            <p:nvPr/>
          </p:nvSpPr>
          <p:spPr>
            <a:xfrm>
              <a:off x="-1194601" y="3882826"/>
              <a:ext cx="723341" cy="20040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0" name="Прямоугольник 99">
              <a:extLst>
                <a:ext uri="{FF2B5EF4-FFF2-40B4-BE49-F238E27FC236}">
                  <a16:creationId xmlns:a16="http://schemas.microsoft.com/office/drawing/2014/main" id="{31672017-8077-4A10-8ECA-5042B1AD5168}"/>
                </a:ext>
              </a:extLst>
            </p:cNvPr>
            <p:cNvSpPr/>
            <p:nvPr/>
          </p:nvSpPr>
          <p:spPr>
            <a:xfrm>
              <a:off x="-1194601" y="4083232"/>
              <a:ext cx="723341" cy="20040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id="{48DF2D24-82FD-40CF-A140-B31D4BEF0C97}"/>
                </a:ext>
              </a:extLst>
            </p:cNvPr>
            <p:cNvSpPr/>
            <p:nvPr/>
          </p:nvSpPr>
          <p:spPr>
            <a:xfrm>
              <a:off x="-1194601" y="4283638"/>
              <a:ext cx="723341" cy="200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A448DBC1-4A1B-4E41-85E2-A2F28C984A0D}"/>
                </a:ext>
              </a:extLst>
            </p:cNvPr>
            <p:cNvSpPr/>
            <p:nvPr/>
          </p:nvSpPr>
          <p:spPr>
            <a:xfrm>
              <a:off x="-1232760" y="3265040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ттенки красного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id="{01F6B229-914E-4329-896F-10A4CB08DB3E}"/>
                </a:ext>
              </a:extLst>
            </p:cNvPr>
            <p:cNvSpPr/>
            <p:nvPr/>
          </p:nvSpPr>
          <p:spPr>
            <a:xfrm>
              <a:off x="-1194601" y="5312044"/>
              <a:ext cx="723341" cy="20040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:a16="http://schemas.microsoft.com/office/drawing/2014/main" id="{1450C114-B7A7-4609-AC78-9939C1841D2F}"/>
                </a:ext>
              </a:extLst>
            </p:cNvPr>
            <p:cNvSpPr/>
            <p:nvPr/>
          </p:nvSpPr>
          <p:spPr>
            <a:xfrm>
              <a:off x="-1194601" y="5512450"/>
              <a:ext cx="723341" cy="20040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id="{6D87E92E-D9C0-4CA6-B425-3041D9CC6E44}"/>
                </a:ext>
              </a:extLst>
            </p:cNvPr>
            <p:cNvSpPr/>
            <p:nvPr/>
          </p:nvSpPr>
          <p:spPr>
            <a:xfrm>
              <a:off x="-1194601" y="5712856"/>
              <a:ext cx="723341" cy="20040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43B7CCC0-05EE-497D-A41A-44D25CC676F7}"/>
                </a:ext>
              </a:extLst>
            </p:cNvPr>
            <p:cNvSpPr/>
            <p:nvPr/>
          </p:nvSpPr>
          <p:spPr>
            <a:xfrm>
              <a:off x="-1194601" y="5913262"/>
              <a:ext cx="723341" cy="20040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id="{DD7138C1-80C1-4E60-9F42-412DA8BCF061}"/>
                </a:ext>
              </a:extLst>
            </p:cNvPr>
            <p:cNvSpPr/>
            <p:nvPr/>
          </p:nvSpPr>
          <p:spPr>
            <a:xfrm>
              <a:off x="-1232760" y="4604953"/>
              <a:ext cx="809125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Для 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таблицы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де много</a:t>
              </a:r>
              <a:b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</a:b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цветов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6815250E-F12E-4CBD-A843-D7CD83BA9510}"/>
                </a:ext>
              </a:extLst>
            </p:cNvPr>
            <p:cNvSpPr/>
            <p:nvPr/>
          </p:nvSpPr>
          <p:spPr>
            <a:xfrm>
              <a:off x="-1194601" y="6113668"/>
              <a:ext cx="723341" cy="200406"/>
            </a:xfrm>
            <a:prstGeom prst="rect">
              <a:avLst/>
            </a:prstGeom>
            <a:solidFill>
              <a:srgbClr val="92CA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9" name="Прямоугольник 108">
              <a:extLst>
                <a:ext uri="{FF2B5EF4-FFF2-40B4-BE49-F238E27FC236}">
                  <a16:creationId xmlns:a16="http://schemas.microsoft.com/office/drawing/2014/main" id="{8FE386E0-52C3-4FDC-A532-894C0635AB4C}"/>
                </a:ext>
              </a:extLst>
            </p:cNvPr>
            <p:cNvSpPr/>
            <p:nvPr/>
          </p:nvSpPr>
          <p:spPr>
            <a:xfrm>
              <a:off x="-1194601" y="1841746"/>
              <a:ext cx="723341" cy="2004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0" name="Прямоугольник 109">
              <a:extLst>
                <a:ext uri="{FF2B5EF4-FFF2-40B4-BE49-F238E27FC236}">
                  <a16:creationId xmlns:a16="http://schemas.microsoft.com/office/drawing/2014/main" id="{4C18892C-C48A-4422-AD28-EA96C6264EFF}"/>
                </a:ext>
              </a:extLst>
            </p:cNvPr>
            <p:cNvSpPr/>
            <p:nvPr/>
          </p:nvSpPr>
          <p:spPr>
            <a:xfrm>
              <a:off x="-1194601" y="2238737"/>
              <a:ext cx="723341" cy="20040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1" name="Прямоугольник 110">
              <a:extLst>
                <a:ext uri="{FF2B5EF4-FFF2-40B4-BE49-F238E27FC236}">
                  <a16:creationId xmlns:a16="http://schemas.microsoft.com/office/drawing/2014/main" id="{4F0742AA-A4DF-45A1-AC5E-BB91D29EF129}"/>
                </a:ext>
              </a:extLst>
            </p:cNvPr>
            <p:cNvSpPr/>
            <p:nvPr/>
          </p:nvSpPr>
          <p:spPr>
            <a:xfrm>
              <a:off x="-1194601" y="2438254"/>
              <a:ext cx="723341" cy="2004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F69B8F58-A024-4752-BABE-3ABECAD163BD}"/>
                </a:ext>
              </a:extLst>
            </p:cNvPr>
            <p:cNvSpPr/>
            <p:nvPr/>
          </p:nvSpPr>
          <p:spPr>
            <a:xfrm>
              <a:off x="-1194601" y="6499903"/>
              <a:ext cx="723341" cy="2004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очее 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13" name="Группа 112">
              <a:extLst>
                <a:ext uri="{FF2B5EF4-FFF2-40B4-BE49-F238E27FC236}">
                  <a16:creationId xmlns:a16="http://schemas.microsoft.com/office/drawing/2014/main" id="{B9C348B1-AD30-48BA-A4CE-E358F5BB4C06}"/>
                </a:ext>
              </a:extLst>
            </p:cNvPr>
            <p:cNvGrpSpPr/>
            <p:nvPr/>
          </p:nvGrpSpPr>
          <p:grpSpPr>
            <a:xfrm>
              <a:off x="-1194601" y="555706"/>
              <a:ext cx="720437" cy="957605"/>
              <a:chOff x="-778155" y="3513882"/>
              <a:chExt cx="720437" cy="957605"/>
            </a:xfrm>
          </p:grpSpPr>
          <p:sp>
            <p:nvSpPr>
              <p:cNvPr id="114" name="Прямоугольник 113">
                <a:extLst>
                  <a:ext uri="{FF2B5EF4-FFF2-40B4-BE49-F238E27FC236}">
                    <a16:creationId xmlns:a16="http://schemas.microsoft.com/office/drawing/2014/main" id="{99A1F8CF-85A8-4215-A17F-222F737A2E59}"/>
                  </a:ext>
                </a:extLst>
              </p:cNvPr>
              <p:cNvSpPr/>
              <p:nvPr/>
            </p:nvSpPr>
            <p:spPr>
              <a:xfrm>
                <a:off x="-778155" y="3513882"/>
                <a:ext cx="720437" cy="193964"/>
              </a:xfrm>
              <a:prstGeom prst="rect">
                <a:avLst/>
              </a:prstGeom>
              <a:solidFill>
                <a:srgbClr val="2C405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5" name="Прямоугольник 114">
                <a:extLst>
                  <a:ext uri="{FF2B5EF4-FFF2-40B4-BE49-F238E27FC236}">
                    <a16:creationId xmlns:a16="http://schemas.microsoft.com/office/drawing/2014/main" id="{2135D3E4-EB2D-45F0-AF3E-DC98CF951B34}"/>
                  </a:ext>
                </a:extLst>
              </p:cNvPr>
              <p:cNvSpPr/>
              <p:nvPr/>
            </p:nvSpPr>
            <p:spPr>
              <a:xfrm>
                <a:off x="-778155" y="3707846"/>
                <a:ext cx="720437" cy="193964"/>
              </a:xfrm>
              <a:prstGeom prst="rect">
                <a:avLst/>
              </a:prstGeom>
              <a:solidFill>
                <a:srgbClr val="41608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6" name="Прямоугольник 115">
                <a:extLst>
                  <a:ext uri="{FF2B5EF4-FFF2-40B4-BE49-F238E27FC236}">
                    <a16:creationId xmlns:a16="http://schemas.microsoft.com/office/drawing/2014/main" id="{E448A2A0-1531-4A86-BC27-721A042BC97E}"/>
                  </a:ext>
                </a:extLst>
              </p:cNvPr>
              <p:cNvSpPr/>
              <p:nvPr/>
            </p:nvSpPr>
            <p:spPr>
              <a:xfrm>
                <a:off x="-778155" y="3896924"/>
                <a:ext cx="720437" cy="193964"/>
              </a:xfrm>
              <a:prstGeom prst="rect">
                <a:avLst/>
              </a:prstGeom>
              <a:solidFill>
                <a:srgbClr val="9CB3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7" name="Прямоугольник 116">
                <a:extLst>
                  <a:ext uri="{FF2B5EF4-FFF2-40B4-BE49-F238E27FC236}">
                    <a16:creationId xmlns:a16="http://schemas.microsoft.com/office/drawing/2014/main" id="{48D4A690-9A6A-4C40-B184-F658915B36B5}"/>
                  </a:ext>
                </a:extLst>
              </p:cNvPr>
              <p:cNvSpPr/>
              <p:nvPr/>
            </p:nvSpPr>
            <p:spPr>
              <a:xfrm>
                <a:off x="-778155" y="4088445"/>
                <a:ext cx="720437" cy="193964"/>
              </a:xfrm>
              <a:prstGeom prst="rect">
                <a:avLst/>
              </a:prstGeom>
              <a:solidFill>
                <a:srgbClr val="BDCCD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8" name="Прямоугольник 117">
                <a:extLst>
                  <a:ext uri="{FF2B5EF4-FFF2-40B4-BE49-F238E27FC236}">
                    <a16:creationId xmlns:a16="http://schemas.microsoft.com/office/drawing/2014/main" id="{9CA81743-A24E-4A26-A3DF-56DAA00161C7}"/>
                  </a:ext>
                </a:extLst>
              </p:cNvPr>
              <p:cNvSpPr/>
              <p:nvPr/>
            </p:nvSpPr>
            <p:spPr>
              <a:xfrm>
                <a:off x="-778155" y="4277523"/>
                <a:ext cx="720437" cy="193964"/>
              </a:xfrm>
              <a:prstGeom prst="rect">
                <a:avLst/>
              </a:prstGeom>
              <a:solidFill>
                <a:srgbClr val="DEE6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3" name="Slide Number">
            <a:extLst>
              <a:ext uri="{FF2B5EF4-FFF2-40B4-BE49-F238E27FC236}">
                <a16:creationId xmlns:a16="http://schemas.microsoft.com/office/drawing/2014/main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88635" y="6640501"/>
            <a:ext cx="12984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601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  <p:sldLayoutId id="2147483985" r:id="rId14"/>
    <p:sldLayoutId id="2147483986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3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5" indent="-228585" algn="l" defTabSz="91433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5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2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9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63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3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72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0" indent="-228585" algn="l" defTabSz="91433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78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5" algn="l" defTabSz="9143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emf"/><Relationship Id="rId3" Type="http://schemas.openxmlformats.org/officeDocument/2006/relationships/customXml" Target="../ink/ink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Relationship Id="rId11" Type="http://schemas.openxmlformats.org/officeDocument/2006/relationships/customXml" Target="../ink/ink3.xml"/><Relationship Id="rId10" Type="http://schemas.openxmlformats.org/officeDocument/2006/relationships/image" Target="../media/image7.emf"/><Relationship Id="rId9" Type="http://schemas.openxmlformats.org/officeDocument/2006/relationships/customXml" Target="../ink/ink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861321" y="2379459"/>
            <a:ext cx="10126133" cy="1130300"/>
          </a:xfrm>
        </p:spPr>
        <p:txBody>
          <a:bodyPr>
            <a:noAutofit/>
          </a:bodyPr>
          <a:lstStyle/>
          <a:p>
            <a:pPr algn="ctr" defTabSz="1103119">
              <a:defRPr sz="1800"/>
            </a:pPr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новные положения нового                 БЮДЖЕТНОГО КОДЕКСА</a:t>
            </a:r>
          </a:p>
        </p:txBody>
      </p:sp>
      <p:sp>
        <p:nvSpPr>
          <p:cNvPr id="6" name="Subtitle 3"/>
          <p:cNvSpPr>
            <a:spLocks noGrp="1"/>
          </p:cNvSpPr>
          <p:nvPr>
            <p:ph type="subTitle" idx="4294967295"/>
          </p:nvPr>
        </p:nvSpPr>
        <p:spPr>
          <a:xfrm>
            <a:off x="0" y="6502148"/>
            <a:ext cx="12200467" cy="355852"/>
          </a:xfr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119732" tIns="0" rIns="119732" bIns="59865" rtlCol="0" anchor="b">
            <a:spAutoFit/>
          </a:bodyPr>
          <a:lstStyle/>
          <a:p>
            <a:pPr marL="0" indent="0" algn="ctr">
              <a:buNone/>
            </a:pPr>
            <a:r>
              <a:rPr lang="kk-KZ" sz="2133" b="1" dirty="0" smtClean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тябрь</a:t>
            </a:r>
            <a:r>
              <a:rPr lang="kk-KZ" sz="2133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133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133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год</a:t>
            </a:r>
            <a:endParaRPr lang="en-US" sz="2133" b="1" dirty="0">
              <a:solidFill>
                <a:srgbClr val="1F497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06" y="2"/>
            <a:ext cx="12200549" cy="3886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119732" tIns="0" rIns="119732" bIns="59865">
            <a:spAutoFit/>
          </a:bodyPr>
          <a:lstStyle/>
          <a:p>
            <a:pPr algn="ctr" defTabSz="1199033">
              <a:defRPr/>
            </a:pPr>
            <a:r>
              <a:rPr lang="kk-KZ" sz="2133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инистерство национальной экономики Республики Казахстан</a:t>
            </a:r>
            <a:endParaRPr lang="ru-RU" sz="2133" b="1" dirty="0">
              <a:solidFill>
                <a:srgbClr val="1F497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42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136734" y="598774"/>
            <a:ext cx="11797418" cy="1401605"/>
            <a:chOff x="470547" y="949230"/>
            <a:chExt cx="6429834" cy="1016046"/>
          </a:xfrm>
        </p:grpSpPr>
        <p:sp>
          <p:nvSpPr>
            <p:cNvPr id="5" name="TextBox 4"/>
            <p:cNvSpPr txBox="1"/>
            <p:nvPr/>
          </p:nvSpPr>
          <p:spPr>
            <a:xfrm>
              <a:off x="470548" y="949230"/>
              <a:ext cx="6422972" cy="594744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33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БЗОР РАСХОДОВ </a:t>
              </a:r>
            </a:p>
            <a:p>
              <a:pPr lvl="0" algn="ctr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это анализ расходов, планируемых или предусмотренных в документах СГП и в бюджете, а также отраслевой политики госоргана </a:t>
              </a:r>
            </a:p>
            <a:p>
              <a:pPr lvl="0" algn="ctr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 целью обеспечения </a:t>
              </a:r>
              <a:r>
                <a: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нтроля</a:t>
              </a: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за расходованием бюджетных средств и повышения качества их </a:t>
              </a:r>
              <a:r>
                <a: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иоритизации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470547" y="1646378"/>
              <a:ext cx="1931997" cy="3188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733" dirty="0">
                  <a:solidFill>
                    <a:srgbClr val="5B9BD5">
                      <a:lumMod val="50000"/>
                    </a:srgbClr>
                  </a:solidFill>
                  <a:cs typeface="Arial" panose="020B0604020202020204" pitchFamily="34" charset="0"/>
                  <a:sym typeface="Arial"/>
                </a:rPr>
                <a:t>Б</a:t>
              </a:r>
              <a:r>
                <a:rPr kumimoji="0" lang="ru-RU" sz="1733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ЮДЖЕТНЫЙ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571776" y="1646378"/>
              <a:ext cx="2182069" cy="3188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marR="0" lvl="0" indent="0" algn="ctr" defTabSz="919716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733" b="1" i="0" u="none" strike="noStrike" cap="none" spc="0" normalizeH="0" baseline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>
                  <a:sym typeface="Arial"/>
                </a:rPr>
                <a:t>СТРАТЕГИЧЕСКИЙ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923076" y="1643133"/>
              <a:ext cx="1977305" cy="31889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marR="0" lvl="0" indent="0" algn="ctr" defTabSz="919716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733" b="1" i="0" u="none" strike="noStrike" cap="none" spc="0" normalizeH="0" baseline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>
                  <a:sym typeface="Arial"/>
                </a:rPr>
                <a:t>ИНВЕСТИЦИОННЫЙ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54430" y="85253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ОВЫШЕНИЕ качества стратегического и бюджетного планирова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043736" y="2546842"/>
            <a:ext cx="3954817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стичности, целесообразности, актуальности документов СГП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ности целей и задач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я (отсутствия) дублирования, фрагментарности, пересечения и противоречий 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ия проводимой государственной политике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я приоритетности и реалистичности целей и (или) целевых индикатор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48446" y="2447633"/>
            <a:ext cx="348974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и, обоснованности, результативности и целесообразности расходов бюджета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й оптимизации или перераспределения расходов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сти и целесообразности дальнейшего планирования накопленной разницы сумм, связанной с недостаточностью бюджетных средств для достижения целевых индикаторов плана развит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8304102" y="2582203"/>
            <a:ext cx="3617462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явления и анализа причин удорожания, недофинансирования, незавершенности ГИП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язки ГИП с целевыми индикаторами </a:t>
            </a:r>
          </a:p>
          <a:p>
            <a:pPr marL="285750" indent="-285750"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я при планировании ГИП итогов мониторинга и оценки результатов</a:t>
            </a:r>
          </a:p>
        </p:txBody>
      </p:sp>
      <p:sp>
        <p:nvSpPr>
          <p:cNvPr id="33" name="Прямоугольник 19"/>
          <p:cNvSpPr>
            <a:spLocks noChangeArrowheads="1"/>
          </p:cNvSpPr>
          <p:nvPr/>
        </p:nvSpPr>
        <p:spPr bwMode="auto">
          <a:xfrm>
            <a:off x="136734" y="2122943"/>
            <a:ext cx="11784973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00254"/>
            <a:r>
              <a:rPr lang="ru-RU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одятся на предмет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55582" y="5542313"/>
            <a:ext cx="8536018" cy="1224951"/>
          </a:xfrm>
          <a:prstGeom prst="rect">
            <a:avLst/>
          </a:prstGeom>
          <a:solidFill>
            <a:schemeClr val="bg1"/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БЗОР РАСХОДОВ, ВЫВОДЫ И РЕКОМЕНДАЦИИ ПО ИТОГАМ ЕГО ПРОВЕДЕНИЯ: 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именяются для принятия административных и управленческих решений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именяются в бюджетном процессе 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убликуются на интернет ресурсах</a:t>
            </a:r>
          </a:p>
        </p:txBody>
      </p:sp>
    </p:spTree>
    <p:extLst>
      <p:ext uri="{BB962C8B-B14F-4D97-AF65-F5344CB8AC3E}">
        <p14:creationId xmlns:p14="http://schemas.microsoft.com/office/powerpoint/2010/main" val="234092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99778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75170" y="137787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АМОСТОЯТЕЛЬНОСТЬ И ГИБКОСТЬ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190119" y="637038"/>
            <a:ext cx="11659361" cy="5867103"/>
            <a:chOff x="198504" y="617091"/>
            <a:chExt cx="11705226" cy="5870383"/>
          </a:xfrm>
        </p:grpSpPr>
        <p:sp>
          <p:nvSpPr>
            <p:cNvPr id="4" name="TextBox 3"/>
            <p:cNvSpPr txBox="1"/>
            <p:nvPr/>
          </p:nvSpPr>
          <p:spPr>
            <a:xfrm>
              <a:off x="198504" y="1012977"/>
              <a:ext cx="11705226" cy="3945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МЕНЕНИЕ механизмов корректировки/уточнения бюджета </a:t>
              </a:r>
            </a:p>
          </p:txBody>
        </p:sp>
        <p:sp>
          <p:nvSpPr>
            <p:cNvPr id="6" name="Текст 2"/>
            <p:cNvSpPr txBox="1">
              <a:spLocks/>
            </p:cNvSpPr>
            <p:nvPr/>
          </p:nvSpPr>
          <p:spPr>
            <a:xfrm>
              <a:off x="397962" y="618712"/>
              <a:ext cx="4093437" cy="384690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екущая ситуация</a:t>
              </a:r>
              <a:endParaRPr lang="en-US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98504" y="1525277"/>
              <a:ext cx="364671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РЕСПУБЛИКАНСКОМ уровне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8504" y="2834027"/>
              <a:ext cx="3012942" cy="338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МЕСТНОМ уровне 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632730" y="1939384"/>
              <a:ext cx="388833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10% до 15% от расходов бюджетной программы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40476" y="1970163"/>
              <a:ext cx="5808293" cy="585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ректировок </a:t>
              </a: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реднем 8 раз в год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2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10% от расходов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точнения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раз в год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инициативе Правительства</a:t>
              </a: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20" name="Текст 2"/>
            <p:cNvSpPr txBox="1">
              <a:spLocks/>
            </p:cNvSpPr>
            <p:nvPr/>
          </p:nvSpPr>
          <p:spPr>
            <a:xfrm>
              <a:off x="7198723" y="617091"/>
              <a:ext cx="4093437" cy="384690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лагается</a:t>
              </a:r>
              <a:endParaRPr lang="en-US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40477" y="3233176"/>
              <a:ext cx="580829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ректировок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реднем 6-7 раз в год</a:t>
              </a:r>
            </a:p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точнения </a:t>
              </a: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раз в квартал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инициативе местных исполнительных органов и представительных органов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741484" y="1465403"/>
              <a:ext cx="2572284" cy="420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ЛИЧЕНИЕ 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728820" y="3433118"/>
              <a:ext cx="4031091" cy="6466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личества </a:t>
              </a:r>
              <a:r>
                <a:rPr lang="ru-RU" b="1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точнений 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«1» раз в полугодие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849699" y="3073595"/>
              <a:ext cx="2572284" cy="420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133" b="1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/>
                <a:t>ОГРАНИЧЕНИЕ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98504" y="4168064"/>
              <a:ext cx="11637962" cy="3945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2000" dirty="0"/>
                <a:t>Перенос ОСТАТКОВ бюджетных средств путем  корректировки бюджета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02545" y="4763261"/>
              <a:ext cx="5297988" cy="15478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бюджетным средствам</a:t>
              </a:r>
            </a:p>
            <a:p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1 марта по решению Правительства</a:t>
              </a:r>
            </a:p>
            <a:p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средствам субъектов квазигоссектора</a:t>
              </a:r>
            </a:p>
            <a:p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сутствует механизм возврата неиспользованной части на контрольном счете наличности (КСН)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40237" y="4670577"/>
              <a:ext cx="4963493" cy="18168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›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ределение до 1 декабря пула расходов по предложениям госорганов, которые в этом году не будут исполнены</a:t>
              </a:r>
            </a:p>
            <a:p>
              <a:pPr marL="285750" indent="-285750">
                <a:buFont typeface="Arial" panose="020B0604020202020204" pitchFamily="34" charset="0"/>
                <a:buChar char="›"/>
              </a:pPr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›"/>
              </a:pPr>
              <a:r>
                <a:rPr lang="ru-RU" sz="1600" dirty="0" err="1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твержд</a:t>
              </a:r>
              <a:r>
                <a:rPr lang="kk-KZ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ие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</a:t>
              </a:r>
              <a:r>
                <a:rPr lang="ru-RU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ла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ходов </a:t>
              </a:r>
              <a:r>
                <a:rPr lang="ru-RU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шением </a:t>
              </a: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авительства о реализации закона о республиканском бюджете в декабр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4679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Заголовок 1"/>
          <p:cNvSpPr>
            <a:spLocks noGrp="1"/>
          </p:cNvSpPr>
          <p:nvPr>
            <p:ph type="title"/>
          </p:nvPr>
        </p:nvSpPr>
        <p:spPr>
          <a:xfrm>
            <a:off x="28746" y="112144"/>
            <a:ext cx="12069076" cy="329348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НОВЫЙ бюджетный процесс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 этап, 3 месяца /90 календарных дней  </a:t>
            </a:r>
            <a:endParaRPr lang="ru-RU" sz="2000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74697" y="934783"/>
            <a:ext cx="12042605" cy="4930315"/>
            <a:chOff x="99056" y="1081161"/>
            <a:chExt cx="12045393" cy="4931456"/>
          </a:xfrm>
        </p:grpSpPr>
        <p:sp>
          <p:nvSpPr>
            <p:cNvPr id="89" name="Chevron 11"/>
            <p:cNvSpPr/>
            <p:nvPr/>
          </p:nvSpPr>
          <p:spPr>
            <a:xfrm>
              <a:off x="10948780" y="3241521"/>
              <a:ext cx="1195669" cy="32765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 января</a:t>
              </a:r>
            </a:p>
          </p:txBody>
        </p:sp>
        <p:sp>
          <p:nvSpPr>
            <p:cNvPr id="113" name="Rectangle 19"/>
            <p:cNvSpPr/>
            <p:nvPr/>
          </p:nvSpPr>
          <p:spPr>
            <a:xfrm>
              <a:off x="10238345" y="1457573"/>
              <a:ext cx="1411142" cy="685188"/>
            </a:xfrm>
            <a:prstGeom prst="rect">
              <a:avLst/>
            </a:prstGeom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spcAft>
                  <a:spcPts val="1800"/>
                </a:spcAft>
                <a:buClr>
                  <a:srgbClr val="2868A4"/>
                </a:buClr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остановление о реализации ЗРК о РБ</a:t>
              </a:r>
            </a:p>
          </p:txBody>
        </p:sp>
        <p:sp>
          <p:nvSpPr>
            <p:cNvPr id="38" name="Chevron 15"/>
            <p:cNvSpPr/>
            <p:nvPr/>
          </p:nvSpPr>
          <p:spPr>
            <a:xfrm>
              <a:off x="8794748" y="3252279"/>
              <a:ext cx="1265792" cy="315043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 декабря 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7553316" y="4080792"/>
              <a:ext cx="1813433" cy="685188"/>
            </a:xfrm>
            <a:prstGeom prst="rect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buClr>
                  <a:srgbClr val="2868A4"/>
                </a:buClr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Внесение </a:t>
              </a:r>
              <a:b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</a:b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роекта ЗРК о РБ в Парламент </a:t>
              </a:r>
            </a:p>
          </p:txBody>
        </p:sp>
        <p:sp>
          <p:nvSpPr>
            <p:cNvPr id="31" name="Pentagon 8"/>
            <p:cNvSpPr/>
            <p:nvPr/>
          </p:nvSpPr>
          <p:spPr>
            <a:xfrm>
              <a:off x="99056" y="3251383"/>
              <a:ext cx="1309473" cy="317792"/>
            </a:xfrm>
            <a:prstGeom prst="homePlate">
              <a:avLst/>
            </a:prstGeom>
            <a:solidFill>
              <a:srgbClr val="21596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4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июня</a:t>
              </a:r>
            </a:p>
          </p:txBody>
        </p:sp>
        <p:sp>
          <p:nvSpPr>
            <p:cNvPr id="32" name="Chevron 9"/>
            <p:cNvSpPr/>
            <p:nvPr/>
          </p:nvSpPr>
          <p:spPr>
            <a:xfrm>
              <a:off x="1351971" y="3259081"/>
              <a:ext cx="1296726" cy="317791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7  июня</a:t>
              </a:r>
            </a:p>
          </p:txBody>
        </p:sp>
        <p:sp>
          <p:nvSpPr>
            <p:cNvPr id="33" name="Chevron 10"/>
            <p:cNvSpPr/>
            <p:nvPr/>
          </p:nvSpPr>
          <p:spPr>
            <a:xfrm>
              <a:off x="2607707" y="3265072"/>
              <a:ext cx="1272326" cy="317791"/>
            </a:xfrm>
            <a:prstGeom prst="chevron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0 раб. дн</a:t>
              </a:r>
            </a:p>
          </p:txBody>
        </p:sp>
        <p:sp>
          <p:nvSpPr>
            <p:cNvPr id="35" name="Chevron 12"/>
            <p:cNvSpPr/>
            <p:nvPr/>
          </p:nvSpPr>
          <p:spPr>
            <a:xfrm>
              <a:off x="5148439" y="3273087"/>
              <a:ext cx="1225236" cy="312785"/>
            </a:xfrm>
            <a:prstGeom prst="chevron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августа</a:t>
              </a:r>
            </a:p>
          </p:txBody>
        </p:sp>
        <p:sp>
          <p:nvSpPr>
            <p:cNvPr id="36" name="Chevron 13"/>
            <p:cNvSpPr/>
            <p:nvPr/>
          </p:nvSpPr>
          <p:spPr>
            <a:xfrm>
              <a:off x="6291670" y="3255906"/>
              <a:ext cx="1296436" cy="320966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5 августа</a:t>
              </a:r>
            </a:p>
          </p:txBody>
        </p:sp>
        <p:sp>
          <p:nvSpPr>
            <p:cNvPr id="37" name="Chevron 14"/>
            <p:cNvSpPr/>
            <p:nvPr/>
          </p:nvSpPr>
          <p:spPr>
            <a:xfrm>
              <a:off x="7496345" y="3251382"/>
              <a:ext cx="1359519" cy="334489"/>
            </a:xfrm>
            <a:prstGeom prst="chevron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3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сентября</a:t>
              </a:r>
            </a:p>
          </p:txBody>
        </p:sp>
        <p:sp>
          <p:nvSpPr>
            <p:cNvPr id="43" name="Rectangle 18"/>
            <p:cNvSpPr/>
            <p:nvPr/>
          </p:nvSpPr>
          <p:spPr>
            <a:xfrm>
              <a:off x="4984777" y="4092916"/>
              <a:ext cx="2407662" cy="1690091"/>
            </a:xfrm>
            <a:prstGeom prst="rect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171416" indent="-171416" defTabSz="914217">
                <a:lnSpc>
                  <a:spcPct val="107000"/>
                </a:lnSpc>
                <a:buClr>
                  <a:srgbClr val="2868A4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b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Внесение проекта РБ </a:t>
              </a:r>
              <a:br>
                <a:rPr lang="ru-RU" sz="1200" b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</a:br>
              <a:r>
                <a:rPr lang="ru-RU" sz="1200" b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в ВАП </a:t>
              </a: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(</a:t>
              </a:r>
              <a:r>
                <a:rPr lang="ru-RU" sz="1000" i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роработка заключения ВАП по оценке проекта  РБ по основным направлениям его расходов, в части</a:t>
              </a:r>
              <a:r>
                <a:rPr lang="ru-RU" sz="1000" b="1" i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 оптимизации бюджетных средств.</a:t>
              </a:r>
              <a:r>
                <a:rPr lang="ru-RU" sz="1000" i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 Методологическая часть будет реализована путем составления среднесрочной дорожной карты</a:t>
              </a: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)</a:t>
              </a:r>
            </a:p>
          </p:txBody>
        </p:sp>
        <p:sp>
          <p:nvSpPr>
            <p:cNvPr id="44" name="Rectangle 19"/>
            <p:cNvSpPr/>
            <p:nvPr/>
          </p:nvSpPr>
          <p:spPr>
            <a:xfrm>
              <a:off x="6383725" y="1435825"/>
              <a:ext cx="1768468" cy="685188"/>
            </a:xfrm>
            <a:prstGeom prst="rect">
              <a:avLst/>
            </a:prstGeom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spcAft>
                  <a:spcPts val="1800"/>
                </a:spcAft>
                <a:buClr>
                  <a:srgbClr val="2868A4"/>
                </a:buClr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Внесение проекта </a:t>
              </a:r>
              <a:b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</a:b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ЗРК о РБ в Правительство 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593180" y="1081161"/>
              <a:ext cx="116205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БП/МФ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1392424" y="3648629"/>
              <a:ext cx="112523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Ф/РБК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134888" y="1120619"/>
              <a:ext cx="1299351" cy="3750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ЭП/МНЭ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6716676" y="2093496"/>
              <a:ext cx="73209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НЭ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5603093" y="3726702"/>
              <a:ext cx="12387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Ф/ВАП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6278972" y="1094683"/>
              <a:ext cx="84385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Ф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7553316" y="3701425"/>
              <a:ext cx="175877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00254"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равительство</a:t>
              </a:r>
            </a:p>
          </p:txBody>
        </p:sp>
        <p:sp>
          <p:nvSpPr>
            <p:cNvPr id="77" name="Rectangle 17"/>
            <p:cNvSpPr/>
            <p:nvPr/>
          </p:nvSpPr>
          <p:spPr>
            <a:xfrm>
              <a:off x="6782118" y="2420919"/>
              <a:ext cx="1376245" cy="487569"/>
            </a:xfrm>
            <a:prstGeom prst="rect">
              <a:avLst/>
            </a:prstGeom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spcAft>
                  <a:spcPts val="1800"/>
                </a:spcAft>
                <a:buClr>
                  <a:srgbClr val="2868A4"/>
                </a:buClr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Одобрение ПСЭР </a:t>
              </a:r>
            </a:p>
          </p:txBody>
        </p:sp>
        <p:sp>
          <p:nvSpPr>
            <p:cNvPr id="81" name="Rectangle 19"/>
            <p:cNvSpPr/>
            <p:nvPr/>
          </p:nvSpPr>
          <p:spPr>
            <a:xfrm>
              <a:off x="8587640" y="1461983"/>
              <a:ext cx="1544812" cy="487569"/>
            </a:xfrm>
            <a:prstGeom prst="rect">
              <a:avLst/>
            </a:prstGeom>
            <a:ln w="3175"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spcAft>
                  <a:spcPts val="1800"/>
                </a:spcAft>
                <a:buClr>
                  <a:srgbClr val="2868A4"/>
                </a:buClr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Утверждение проекта РБ</a:t>
              </a: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8479997" y="1151655"/>
              <a:ext cx="143054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арламент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Chevron 14"/>
            <p:cNvSpPr/>
            <p:nvPr/>
          </p:nvSpPr>
          <p:spPr>
            <a:xfrm>
              <a:off x="10060539" y="3240007"/>
              <a:ext cx="964988" cy="329168"/>
            </a:xfrm>
            <a:prstGeom prst="chevron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7 к.д.</a:t>
              </a:r>
            </a:p>
          </p:txBody>
        </p:sp>
        <p:sp>
          <p:nvSpPr>
            <p:cNvPr id="95" name="Rectangle 18"/>
            <p:cNvSpPr/>
            <p:nvPr/>
          </p:nvSpPr>
          <p:spPr>
            <a:xfrm>
              <a:off x="9708675" y="4042021"/>
              <a:ext cx="2408581" cy="685188"/>
            </a:xfrm>
            <a:prstGeom prst="rect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defTabSz="914217">
                <a:lnSpc>
                  <a:spcPct val="107000"/>
                </a:lnSpc>
                <a:buClr>
                  <a:srgbClr val="2868A4"/>
                </a:buClr>
                <a:defRPr/>
              </a:pPr>
              <a:r>
                <a:rPr lang="ru-RU" sz="1200" b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ринятие:</a:t>
              </a:r>
            </a:p>
            <a:p>
              <a:pPr marL="171416" indent="-171416" defTabSz="914217">
                <a:lnSpc>
                  <a:spcPct val="107000"/>
                </a:lnSpc>
                <a:buClr>
                  <a:srgbClr val="2868A4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ланов финансирования РБ</a:t>
              </a:r>
            </a:p>
            <a:p>
              <a:pPr marL="171416" indent="-171416" defTabSz="914217">
                <a:lnSpc>
                  <a:spcPct val="107000"/>
                </a:lnSpc>
                <a:buClr>
                  <a:srgbClr val="2868A4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200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rPr>
                <a:t>Плана госзакупок ГО</a:t>
              </a:r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10238345" y="1139781"/>
              <a:ext cx="161750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Ф/АБП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11" name="Группа 10"/>
            <p:cNvGrpSpPr/>
            <p:nvPr/>
          </p:nvGrpSpPr>
          <p:grpSpPr>
            <a:xfrm>
              <a:off x="141003" y="1473741"/>
              <a:ext cx="1657206" cy="1750165"/>
              <a:chOff x="304293" y="1526603"/>
              <a:chExt cx="1657206" cy="1750165"/>
            </a:xfrm>
          </p:grpSpPr>
          <p:sp>
            <p:nvSpPr>
              <p:cNvPr id="42" name="Rectangle 17"/>
              <p:cNvSpPr/>
              <p:nvPr/>
            </p:nvSpPr>
            <p:spPr>
              <a:xfrm>
                <a:off x="304293" y="1526603"/>
                <a:ext cx="1657206" cy="685188"/>
              </a:xfrm>
              <a:prstGeom prst="rect">
                <a:avLst/>
              </a:prstGeom>
              <a:ln w="3175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ru-RU" sz="12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Сценарный прогноз и бюджетные параметры (СЭП)</a:t>
                </a:r>
              </a:p>
            </p:txBody>
          </p:sp>
          <p:cxnSp>
            <p:nvCxnSpPr>
              <p:cNvPr id="52" name="Прямая со стрелкой 51"/>
              <p:cNvCxnSpPr/>
              <p:nvPr/>
            </p:nvCxnSpPr>
            <p:spPr>
              <a:xfrm>
                <a:off x="994546" y="2211791"/>
                <a:ext cx="0" cy="1064977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6" name="Прямая со стрелкой 55"/>
            <p:cNvCxnSpPr/>
            <p:nvPr/>
          </p:nvCxnSpPr>
          <p:spPr>
            <a:xfrm>
              <a:off x="6781573" y="2892769"/>
              <a:ext cx="545" cy="369898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 стрелкой 57"/>
            <p:cNvCxnSpPr/>
            <p:nvPr/>
          </p:nvCxnSpPr>
          <p:spPr>
            <a:xfrm>
              <a:off x="6383725" y="2106714"/>
              <a:ext cx="1934" cy="1153433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 стрелкой 58"/>
            <p:cNvCxnSpPr/>
            <p:nvPr/>
          </p:nvCxnSpPr>
          <p:spPr>
            <a:xfrm flipH="1">
              <a:off x="9450356" y="1935254"/>
              <a:ext cx="13243" cy="1316129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 стрелкой 59"/>
            <p:cNvCxnSpPr/>
            <p:nvPr/>
          </p:nvCxnSpPr>
          <p:spPr>
            <a:xfrm>
              <a:off x="10244563" y="2171383"/>
              <a:ext cx="0" cy="1080000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Группа 8"/>
            <p:cNvGrpSpPr/>
            <p:nvPr/>
          </p:nvGrpSpPr>
          <p:grpSpPr>
            <a:xfrm>
              <a:off x="2638551" y="1424263"/>
              <a:ext cx="1325379" cy="1838333"/>
              <a:chOff x="2697753" y="1446365"/>
              <a:chExt cx="1977933" cy="1838333"/>
            </a:xfrm>
          </p:grpSpPr>
          <p:sp>
            <p:nvSpPr>
              <p:cNvPr id="39" name="Rectangle 3"/>
              <p:cNvSpPr/>
              <p:nvPr/>
            </p:nvSpPr>
            <p:spPr>
              <a:xfrm>
                <a:off x="2697754" y="1446365"/>
                <a:ext cx="1977932" cy="1722587"/>
              </a:xfrm>
              <a:prstGeom prst="rect">
                <a:avLst/>
              </a:prstGeom>
              <a:ln w="3175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Подготовка </a:t>
                </a:r>
                <a:r>
                  <a:rPr lang="ru-RU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бюджетн</a:t>
                </a:r>
                <a:r>
                  <a:rPr lang="kk-KZ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ого</a:t>
                </a:r>
                <a:r>
                  <a:rPr lang="ru-RU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 запроса  </a:t>
                </a:r>
                <a: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/>
                </a:r>
                <a:b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</a:br>
                <a: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с учетом РБК </a:t>
                </a:r>
                <a:b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</a:br>
                <a: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(74 ст.), одобрение на ВБК и представление </a:t>
                </a:r>
                <a:b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</a:br>
                <a:r>
                  <a:rPr lang="ru-RU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в МФ</a:t>
                </a:r>
              </a:p>
            </p:txBody>
          </p:sp>
          <p:cxnSp>
            <p:nvCxnSpPr>
              <p:cNvPr id="62" name="Прямая со стрелкой 61"/>
              <p:cNvCxnSpPr/>
              <p:nvPr/>
            </p:nvCxnSpPr>
            <p:spPr>
              <a:xfrm flipH="1">
                <a:off x="2697753" y="2733485"/>
                <a:ext cx="1" cy="551213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Группа 9"/>
            <p:cNvGrpSpPr/>
            <p:nvPr/>
          </p:nvGrpSpPr>
          <p:grpSpPr>
            <a:xfrm>
              <a:off x="1345055" y="3596659"/>
              <a:ext cx="1219975" cy="925712"/>
              <a:chOff x="1451566" y="3511923"/>
              <a:chExt cx="1296726" cy="766900"/>
            </a:xfrm>
          </p:grpSpPr>
          <p:sp>
            <p:nvSpPr>
              <p:cNvPr id="40" name="Rectangle 5"/>
              <p:cNvSpPr/>
              <p:nvPr/>
            </p:nvSpPr>
            <p:spPr>
              <a:xfrm>
                <a:off x="1451566" y="3913007"/>
                <a:ext cx="1296726" cy="365816"/>
              </a:xfrm>
              <a:prstGeom prst="rect">
                <a:avLst/>
              </a:prstGeom>
              <a:ln w="6350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ru-RU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Доведение до </a:t>
                </a:r>
                <a:br>
                  <a:rPr lang="ru-RU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</a:br>
                <a:r>
                  <a:rPr lang="ru-RU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АБП лимитов</a:t>
                </a:r>
              </a:p>
            </p:txBody>
          </p:sp>
          <p:cxnSp>
            <p:nvCxnSpPr>
              <p:cNvPr id="64" name="Прямая со стрелкой 63"/>
              <p:cNvCxnSpPr/>
              <p:nvPr/>
            </p:nvCxnSpPr>
            <p:spPr>
              <a:xfrm flipV="1">
                <a:off x="1451566" y="3511923"/>
                <a:ext cx="23502" cy="555441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6" name="Прямая со стрелкой 65"/>
            <p:cNvCxnSpPr/>
            <p:nvPr/>
          </p:nvCxnSpPr>
          <p:spPr>
            <a:xfrm flipV="1">
              <a:off x="5525489" y="3604494"/>
              <a:ext cx="1" cy="469800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 стрелкой 72"/>
            <p:cNvCxnSpPr/>
            <p:nvPr/>
          </p:nvCxnSpPr>
          <p:spPr>
            <a:xfrm flipH="1" flipV="1">
              <a:off x="7553316" y="3567323"/>
              <a:ext cx="1991" cy="509464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 стрелкой 73"/>
            <p:cNvCxnSpPr/>
            <p:nvPr/>
          </p:nvCxnSpPr>
          <p:spPr>
            <a:xfrm flipH="1" flipV="1">
              <a:off x="11567347" y="3585872"/>
              <a:ext cx="0" cy="442800"/>
            </a:xfrm>
            <a:prstGeom prst="straightConnector1">
              <a:avLst/>
            </a:prstGeom>
            <a:ln w="9525">
              <a:solidFill>
                <a:schemeClr val="tx2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Группа 47"/>
            <p:cNvGrpSpPr/>
            <p:nvPr/>
          </p:nvGrpSpPr>
          <p:grpSpPr>
            <a:xfrm>
              <a:off x="2651307" y="3623756"/>
              <a:ext cx="2169461" cy="2388861"/>
              <a:chOff x="1451566" y="2515138"/>
              <a:chExt cx="1011060" cy="6507717"/>
            </a:xfrm>
          </p:grpSpPr>
          <p:sp>
            <p:nvSpPr>
              <p:cNvPr id="49" name="Rectangle 5"/>
              <p:cNvSpPr/>
              <p:nvPr/>
            </p:nvSpPr>
            <p:spPr>
              <a:xfrm>
                <a:off x="1451568" y="3836739"/>
                <a:ext cx="1011058" cy="5186116"/>
              </a:xfrm>
              <a:prstGeom prst="rect">
                <a:avLst/>
              </a:prstGeom>
              <a:ln w="6350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kk-KZ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Представление </a:t>
                </a:r>
                <a:r>
                  <a:rPr lang="kk-KZ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ПАСПОРТА БЮДЖЕТНОЙ ПРОГРАММЫ </a:t>
                </a:r>
                <a:r>
                  <a:rPr lang="kk-KZ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в МНЭ для </a:t>
                </a:r>
                <a:r>
                  <a:rPr lang="kk-KZ" sz="1100" b="1" u="sng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формирования заключения </a:t>
                </a:r>
                <a:r>
                  <a:rPr lang="kk-KZ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по итогам рассмотрения на предмет правильности </a:t>
                </a:r>
                <a:r>
                  <a:rPr lang="kk-KZ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выбора конечных результатов и наличия их взаимоувязки с целевыми индикаторами палана развития госоргана</a:t>
                </a:r>
                <a:endParaRPr lang="ru-RU" sz="1100" b="1" kern="0" dirty="0">
                  <a:solidFill>
                    <a:prstClr val="black"/>
                  </a:solidFill>
                  <a:latin typeface="Arial" pitchFamily="34" charset="0"/>
                  <a:ea typeface="Calibri" panose="020F0502020204030204" pitchFamily="34" charset="0"/>
                  <a:cs typeface="Arial" pitchFamily="34" charset="0"/>
                </a:endParaRPr>
              </a:p>
            </p:txBody>
          </p:sp>
          <p:cxnSp>
            <p:nvCxnSpPr>
              <p:cNvPr id="50" name="Прямая со стрелкой 49"/>
              <p:cNvCxnSpPr/>
              <p:nvPr/>
            </p:nvCxnSpPr>
            <p:spPr>
              <a:xfrm flipV="1">
                <a:off x="1451566" y="2515138"/>
                <a:ext cx="3369" cy="1552234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1" name="Прямоугольник 50"/>
            <p:cNvSpPr/>
            <p:nvPr/>
          </p:nvSpPr>
          <p:spPr>
            <a:xfrm>
              <a:off x="2722255" y="3755300"/>
              <a:ext cx="14307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БП/МНЭ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Chevron 13"/>
            <p:cNvSpPr/>
            <p:nvPr/>
          </p:nvSpPr>
          <p:spPr>
            <a:xfrm>
              <a:off x="3830391" y="3282819"/>
              <a:ext cx="1406689" cy="321675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не позднее </a:t>
              </a:r>
            </a:p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5 июля</a:t>
              </a: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4046119" y="1425540"/>
              <a:ext cx="1479370" cy="1843989"/>
              <a:chOff x="2697754" y="1462377"/>
              <a:chExt cx="1782260" cy="1822321"/>
            </a:xfrm>
          </p:grpSpPr>
          <p:sp>
            <p:nvSpPr>
              <p:cNvPr id="70" name="Rectangle 3"/>
              <p:cNvSpPr/>
              <p:nvPr/>
            </p:nvSpPr>
            <p:spPr>
              <a:xfrm>
                <a:off x="2697754" y="1462377"/>
                <a:ext cx="1782260" cy="986302"/>
              </a:xfrm>
              <a:prstGeom prst="rect">
                <a:avLst/>
              </a:prstGeom>
              <a:ln w="3175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kk-KZ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Внесение МНЭ заключения на </a:t>
                </a:r>
                <a:r>
                  <a:rPr lang="kk-KZ" sz="11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паспорта бюджетных программ </a:t>
                </a:r>
                <a:r>
                  <a:rPr lang="kk-KZ" sz="11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в МФ</a:t>
                </a:r>
              </a:p>
            </p:txBody>
          </p:sp>
          <p:cxnSp>
            <p:nvCxnSpPr>
              <p:cNvPr id="72" name="Прямая со стрелкой 71"/>
              <p:cNvCxnSpPr/>
              <p:nvPr/>
            </p:nvCxnSpPr>
            <p:spPr>
              <a:xfrm>
                <a:off x="2697754" y="2439607"/>
                <a:ext cx="0" cy="845091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6" name="Прямоугольник 75"/>
            <p:cNvSpPr/>
            <p:nvPr/>
          </p:nvSpPr>
          <p:spPr>
            <a:xfrm>
              <a:off x="3986385" y="1110614"/>
              <a:ext cx="116205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МНЭ/МФ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</p:grpSp>
      <p:cxnSp>
        <p:nvCxnSpPr>
          <p:cNvPr id="71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0631" y="6579963"/>
            <a:ext cx="2844799" cy="365125"/>
          </a:xfrm>
        </p:spPr>
        <p:txBody>
          <a:bodyPr/>
          <a:lstStyle/>
          <a:p>
            <a:pPr defTabSz="1200254"/>
            <a:fld id="{C8FAE728-353B-469A-8C71-9ED453E3CE90}" type="slidenum">
              <a:rPr lang="ru-RU" sz="12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 defTabSz="1200254"/>
              <a:t>12</a:t>
            </a:fld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42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344" y="21934"/>
            <a:ext cx="10941258" cy="469445"/>
          </a:xfrm>
        </p:spPr>
        <p:txBody>
          <a:bodyPr>
            <a:noAutofit/>
          </a:bodyPr>
          <a:lstStyle/>
          <a:p>
            <a:pPr algn="l">
              <a:spcAft>
                <a:spcPts val="591"/>
              </a:spcAft>
            </a:pPr>
            <a:r>
              <a:rPr lang="ru-RU" sz="24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 установления лимитов расходов госорганов</a:t>
            </a:r>
            <a:endParaRPr lang="en-US" sz="2400" b="1" dirty="0">
              <a:solidFill>
                <a:srgbClr val="4F81BD">
                  <a:lumMod val="50000"/>
                </a:srgbClr>
              </a:solidFill>
              <a:latin typeface="Arial" pitchFamily="34" charset="0"/>
              <a:ea typeface="Arial"/>
              <a:cs typeface="Arial" pitchFamily="34" charset="0"/>
            </a:endParaRPr>
          </a:p>
        </p:txBody>
      </p:sp>
      <p:cxnSp>
        <p:nvCxnSpPr>
          <p:cNvPr id="3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grpSp>
        <p:nvGrpSpPr>
          <p:cNvPr id="6" name="Группа 5"/>
          <p:cNvGrpSpPr/>
          <p:nvPr/>
        </p:nvGrpSpPr>
        <p:grpSpPr>
          <a:xfrm>
            <a:off x="139344" y="654612"/>
            <a:ext cx="11849095" cy="5758241"/>
            <a:chOff x="115446" y="801839"/>
            <a:chExt cx="11849095" cy="5758241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115447" y="801839"/>
              <a:ext cx="11849094" cy="1846660"/>
              <a:chOff x="110773" y="2919204"/>
              <a:chExt cx="11851837" cy="1281286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110773" y="2919204"/>
                <a:ext cx="4716093" cy="128128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defTabSz="1200254">
                  <a:defRPr/>
                </a:pPr>
                <a:r>
                  <a:rPr lang="ru-RU" b="1" dirty="0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. </a:t>
                </a:r>
                <a:r>
                  <a:rPr lang="ru-RU" b="1" dirty="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БЕЗУСЛОВНЫЕ базовые расходы</a:t>
                </a:r>
                <a:r>
                  <a:rPr lang="ru-RU" b="1" dirty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: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 социальных выплат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ыполнение госфункций общего характера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едоставление трансфертов и бюджетных субсидий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ыполнение обязательств и др.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9174031" y="2919204"/>
                <a:ext cx="2788579" cy="83283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/>
                  <a:t>4</a:t>
                </a:r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. РЕЗЕРВ </a:t>
                </a:r>
              </a:p>
              <a:p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на инициативы Главы Государства, Правительства и МИО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5037034" y="2919204"/>
                <a:ext cx="1731104" cy="83283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/>
                  <a:t>2. </a:t>
                </a:r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НОВЫЕ инициативы</a:t>
                </a:r>
              </a:p>
              <a:p>
                <a:endParaRPr lang="ru-RU" sz="1800" dirty="0"/>
              </a:p>
              <a:p>
                <a:endParaRPr lang="ru-RU" sz="1800" dirty="0"/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6970831" y="2931604"/>
                <a:ext cx="2041160" cy="83283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3. УВЕЛИЧЕНИЕ безусловных базовых расходов</a:t>
                </a:r>
              </a:p>
            </p:txBody>
          </p:sp>
        </p:grpSp>
        <p:sp>
          <p:nvSpPr>
            <p:cNvPr id="35" name="TextBox 34"/>
            <p:cNvSpPr txBox="1"/>
            <p:nvPr/>
          </p:nvSpPr>
          <p:spPr>
            <a:xfrm>
              <a:off x="5002257" y="4523029"/>
              <a:ext cx="6923973" cy="823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ru-RU"/>
              </a:defPPr>
              <a:lvl1pPr algn="ctr"/>
            </a:lstStyle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учетом предложения Республиканской бюджетной комиссии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основе темпов роста расходов по контрцикличным бюджетным правилам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265363" y="4533600"/>
              <a:ext cx="4372366" cy="823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ru-RU"/>
              </a:defPPr>
              <a:lvl1pPr algn="ctr"/>
            </a:lstStyle>
            <a:p>
              <a:pPr algn="l" defTabSz="1200254">
                <a:defRPr/>
              </a:pP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водится обзор расходов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итывается индексация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основании предложений госорганов</a:t>
              </a:r>
            </a:p>
            <a:p>
              <a:pPr marL="285693" indent="-285693" algn="l" defTabSz="1200254">
                <a:buFont typeface="Wingdings" panose="05000000000000000000" pitchFamily="2" charset="2"/>
                <a:buChar char="Ø"/>
                <a:defRPr/>
              </a:pP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115446" y="2754177"/>
              <a:ext cx="4522283" cy="607619"/>
              <a:chOff x="147293" y="1799843"/>
              <a:chExt cx="4522283" cy="607619"/>
            </a:xfrm>
          </p:grpSpPr>
          <p:sp>
            <p:nvSpPr>
              <p:cNvPr id="62" name="Прямоугольник 61"/>
              <p:cNvSpPr/>
              <p:nvPr/>
            </p:nvSpPr>
            <p:spPr>
              <a:xfrm>
                <a:off x="147293" y="1853592"/>
                <a:ext cx="1988855" cy="5538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00254"/>
                <a: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последние </a:t>
                </a:r>
                <a:b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3 отчетных года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2314062" y="1799843"/>
                <a:ext cx="381342" cy="5845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00254"/>
                <a:r>
                  <a:rPr lang="ru-RU" sz="3199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+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2808054" y="1930460"/>
                <a:ext cx="1861522" cy="3230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00254"/>
                <a: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плановые 3 года</a:t>
                </a:r>
              </a:p>
            </p:txBody>
          </p:sp>
        </p:grpSp>
        <p:sp>
          <p:nvSpPr>
            <p:cNvPr id="67" name="TextBox 66"/>
            <p:cNvSpPr txBox="1"/>
            <p:nvPr/>
          </p:nvSpPr>
          <p:spPr>
            <a:xfrm>
              <a:off x="275757" y="4096625"/>
              <a:ext cx="4289789" cy="323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00254"/>
              <a:r>
                <a:rPr lang="ru-RU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Среднее значение = в % от общего объема </a:t>
              </a:r>
            </a:p>
          </p:txBody>
        </p:sp>
        <p:sp>
          <p:nvSpPr>
            <p:cNvPr id="68" name="Правая фигурная скобка 67"/>
            <p:cNvSpPr/>
            <p:nvPr/>
          </p:nvSpPr>
          <p:spPr>
            <a:xfrm rot="5400000">
              <a:off x="2395826" y="1391861"/>
              <a:ext cx="304158" cy="4403518"/>
            </a:xfrm>
            <a:prstGeom prst="rightBrace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00254"/>
              <a:endParaRPr lang="ru-RU" sz="240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040568" y="5483054"/>
              <a:ext cx="6834602" cy="1036117"/>
            </a:xfrm>
            <a:prstGeom prst="rect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  <a:prstDash val="lgDash"/>
            </a:ln>
          </p:spPr>
          <p:txBody>
            <a:bodyPr wrap="square" rtlCol="0">
              <a:spAutoFit/>
            </a:bodyPr>
            <a:lstStyle/>
            <a:p>
              <a:pPr algn="ctr" defTabSz="1200254"/>
              <a:endPara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1200254"/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жегодно со всеми расчетами</a:t>
              </a:r>
            </a:p>
            <a:p>
              <a:pPr algn="ctr" defTabSz="1200254"/>
              <a:endPara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75757" y="5483054"/>
              <a:ext cx="4361972" cy="1077026"/>
            </a:xfrm>
            <a:prstGeom prst="rect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  <a:prstDash val="lgDash"/>
            </a:ln>
          </p:spPr>
          <p:txBody>
            <a:bodyPr wrap="square" rtlCol="0">
              <a:spAutoFit/>
            </a:bodyPr>
            <a:lstStyle/>
            <a:p>
              <a:pPr algn="ctr" defTabSz="1200254"/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ределяются 1 раз в 3 года</a:t>
              </a:r>
            </a:p>
            <a:p>
              <a:pPr algn="ctr" defTabSz="1200254"/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жегодно расчеты</a:t>
              </a:r>
            </a:p>
            <a:p>
              <a:pPr algn="ctr" defTabSz="1200254"/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составляются</a:t>
              </a:r>
            </a:p>
          </p:txBody>
        </p:sp>
        <p:sp>
          <p:nvSpPr>
            <p:cNvPr id="39" name="Прямоугольник 38"/>
            <p:cNvSpPr/>
            <p:nvPr/>
          </p:nvSpPr>
          <p:spPr bwMode="auto">
            <a:xfrm>
              <a:off x="9138296" y="2807926"/>
              <a:ext cx="2787934" cy="14861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 defTabSz="1200254">
                <a:lnSpc>
                  <a:spcPct val="112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ЕРАТИВНОСТЬ в </a:t>
              </a: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полнении поручений Главы государства                </a:t>
              </a:r>
              <a:r>
                <a:rPr lang="ru-RU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% от расходов РБ) </a:t>
              </a: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непредвиденных задач</a:t>
              </a:r>
            </a:p>
          </p:txBody>
        </p:sp>
        <p:sp>
          <p:nvSpPr>
            <p:cNvPr id="40" name="Прямоугольник 39"/>
            <p:cNvSpPr/>
            <p:nvPr/>
          </p:nvSpPr>
          <p:spPr bwMode="auto">
            <a:xfrm>
              <a:off x="5002257" y="2815020"/>
              <a:ext cx="3943319" cy="14861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 defTabSz="1200254">
                <a:lnSpc>
                  <a:spcPct val="112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истематизация и ПРИОРИТЕЗАЦИЯ ПУЛА НОВЫХ ИНИЦИАТИВ</a:t>
              </a: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 основании предложений госорганов согласно национальным приоритетам и другим критериям </a:t>
              </a:r>
            </a:p>
          </p:txBody>
        </p:sp>
        <p:sp>
          <p:nvSpPr>
            <p:cNvPr id="41" name="Стрелка вниз 29"/>
            <p:cNvSpPr>
              <a:spLocks noChangeArrowheads="1"/>
            </p:cNvSpPr>
            <p:nvPr/>
          </p:nvSpPr>
          <p:spPr bwMode="auto">
            <a:xfrm>
              <a:off x="7994261" y="4340198"/>
              <a:ext cx="825683" cy="136750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buFont typeface="Arial" panose="020B0604020202020204" pitchFamily="34" charset="0"/>
                <a:buNone/>
              </a:pPr>
              <a:endParaRPr lang="ru-RU" altLang="en-US" sz="2400">
                <a:solidFill>
                  <a:srgbClr val="FFFFFF"/>
                </a:solidFill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0736503" y="197048"/>
            <a:ext cx="1722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продолжен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12516" y="6574069"/>
            <a:ext cx="2844799" cy="365125"/>
          </a:xfrm>
        </p:spPr>
        <p:txBody>
          <a:bodyPr/>
          <a:lstStyle/>
          <a:p>
            <a:pPr defTabSz="1200254"/>
            <a:fld id="{C8FAE728-353B-469A-8C71-9ED453E3CE90}" type="slidenum">
              <a:rPr lang="ru-RU" sz="12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 defTabSz="1200254"/>
              <a:t>13</a:t>
            </a:fld>
            <a:endParaRPr 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058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1"/>
          <p:cNvSpPr txBox="1">
            <a:spLocks/>
          </p:cNvSpPr>
          <p:nvPr/>
        </p:nvSpPr>
        <p:spPr>
          <a:xfrm>
            <a:off x="0" y="18254"/>
            <a:ext cx="12192000" cy="646707"/>
          </a:xfrm>
          <a:prstGeom prst="rect">
            <a:avLst/>
          </a:prstGeom>
        </p:spPr>
        <p:txBody>
          <a:bodyPr vert="horz" lIns="159663" tIns="79837" rIns="159663" bIns="79837" rtlCol="0">
            <a:noAutofit/>
          </a:bodyPr>
          <a:lstStyle>
            <a:lvl1pPr marL="0" indent="0" algn="l" defTabSz="899860" rtl="0" eaLnBrk="1" latinLnBrk="0" hangingPunct="1"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140" indent="-281208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482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4761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24684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4619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4550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4483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440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199033">
              <a:spcAft>
                <a:spcPts val="272"/>
              </a:spcAft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ОПТИМИЗАЦИЯ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документов планирования –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«БЮДЖЕТНЫЙ ЗАПРОС»</a:t>
            </a:r>
          </a:p>
        </p:txBody>
      </p:sp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41716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/>
          <p:cNvGrpSpPr/>
          <p:nvPr/>
        </p:nvGrpSpPr>
        <p:grpSpPr>
          <a:xfrm>
            <a:off x="135183" y="595844"/>
            <a:ext cx="11632376" cy="5757764"/>
            <a:chOff x="135183" y="595844"/>
            <a:chExt cx="11632376" cy="5757764"/>
          </a:xfrm>
        </p:grpSpPr>
        <p:sp>
          <p:nvSpPr>
            <p:cNvPr id="5" name="TextBox 4"/>
            <p:cNvSpPr txBox="1"/>
            <p:nvPr/>
          </p:nvSpPr>
          <p:spPr>
            <a:xfrm>
              <a:off x="135183" y="5491900"/>
              <a:ext cx="11632376" cy="861708"/>
            </a:xfrm>
            <a:prstGeom prst="rect">
              <a:avLst/>
            </a:prstGeom>
            <a:noFill/>
          </p:spPr>
          <p:txBody>
            <a:bodyPr wrap="square" lIns="121853" tIns="60927" rIns="121853" bIns="60927" rtlCol="0">
              <a:spAutoFit/>
            </a:bodyPr>
            <a:lstStyle/>
            <a:p>
              <a:pPr marL="285750" lvl="0" indent="-285750" defTabSz="919716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ый запрос подписывается первым руководителем госоргана </a:t>
              </a:r>
              <a:r>
                <a:rPr kumimoji="0" lang="ru-RU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без </a:t>
              </a:r>
              <a:r>
                <a:rPr lang="ru-RU" sz="1600" b="1" i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тверждения приказом)</a:t>
              </a: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</a:p>
            <a:p>
              <a:pPr marL="285750" lvl="0" indent="-285750" defTabSz="919716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спорт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бюджетной программы – руководителем</a:t>
              </a:r>
              <a:r>
                <a:rPr kumimoji="0" lang="ru-RU" sz="1600" b="1" i="0" u="none" strike="noStrike" kern="1200" cap="none" spc="0" normalizeH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бюджетной программ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285750" marR="0" lvl="0" indent="-285750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змещается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на интернет-ресурсе </a:t>
              </a: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госоргана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и портале «открытые бюджеты» </a:t>
              </a:r>
              <a:r>
                <a:rPr kumimoji="0" lang="ru-RU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9BBB59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без расчетов)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100255" y="630403"/>
              <a:ext cx="306145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собенности</a:t>
              </a:r>
              <a:endPara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8100255" y="1040663"/>
              <a:ext cx="3667304" cy="44102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342" marR="0" lvl="0" indent="-171342" algn="l" defTabSz="1199685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ЪЕДИНЕНИЕ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бюджетной документации в один пакет</a:t>
              </a:r>
            </a:p>
            <a:p>
              <a:pPr marL="171342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ВКЛЮЧЕНИЕ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налитической информации о деятельности госоргана с описанием его вклада в отрасль или сферу</a:t>
              </a:r>
            </a:p>
            <a:p>
              <a:pPr marL="171342" marR="0" lvl="0" indent="-171342" defTabSz="1199685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ЯВЛЕНИЕ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сводной информации обо всех бюджетных программах</a:t>
              </a:r>
            </a:p>
            <a:p>
              <a:pPr marL="171342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ЯВЛЕНИЕ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перечня инвестпроектов</a:t>
              </a:r>
            </a:p>
            <a:p>
              <a:pPr marL="171342" marR="0" lvl="0" indent="-171342" defTabSz="1199685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СТАНОВЛЕНИЕ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локов лимитов расходов                  </a:t>
              </a:r>
            </a:p>
            <a:p>
              <a:pPr marL="171342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ЕРЕНОС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целевого индикатора (ЦИ) плана развития в паспорт бюджетной программы</a:t>
              </a:r>
            </a:p>
            <a:p>
              <a:pPr marL="171342" marR="0" lvl="0" indent="-171342" defTabSz="1199685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ПРЕДЕЛЕНИЕ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нечного результата, исходя из объема планируемых бюджетных средств, во взаимоувязке с ЦИ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7EEBD49-EFC0-1CCB-DB0D-7D4CDC9385CB}"/>
                </a:ext>
              </a:extLst>
            </p:cNvPr>
            <p:cNvSpPr txBox="1"/>
            <p:nvPr/>
          </p:nvSpPr>
          <p:spPr>
            <a:xfrm>
              <a:off x="241441" y="595844"/>
              <a:ext cx="35935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РЕДПОСЫЛКИ</a:t>
              </a:r>
              <a:endPara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98320F5-38B4-75F1-9251-4BAB45C5C07C}"/>
                </a:ext>
              </a:extLst>
            </p:cNvPr>
            <p:cNvSpPr txBox="1"/>
            <p:nvPr/>
          </p:nvSpPr>
          <p:spPr>
            <a:xfrm>
              <a:off x="135183" y="1065179"/>
              <a:ext cx="4059315" cy="4385749"/>
            </a:xfrm>
            <a:prstGeom prst="rect">
              <a:avLst/>
            </a:prstGeom>
            <a:noFill/>
          </p:spPr>
          <p:txBody>
            <a:bodyPr wrap="square" lIns="121853" tIns="60927" rIns="121853" bIns="60927" rtlCol="0">
              <a:spAutoFit/>
            </a:bodyPr>
            <a:lstStyle/>
            <a:p>
              <a:pPr marL="228461" marR="0" lvl="0" indent="-228461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ЗРОЗНЕННОСТЬ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ых документов </a:t>
              </a:r>
            </a:p>
            <a:p>
              <a:pPr marL="633413" lvl="1" defTabSz="919716"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ru-RU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ая заявка</a:t>
              </a: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разрабатывается и рассматривается отдельно от </a:t>
              </a:r>
              <a:r>
                <a:rPr lang="ru-RU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ой программы</a:t>
              </a:r>
              <a:r>
                <a:rPr kumimoji="0" lang="ru-RU" sz="1400" b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</a:p>
            <a:p>
              <a:pPr marL="228461" marR="0" lvl="0" indent="-228461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ОЛЬШОЙ ОБЪЕМ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счетов и обоснований </a:t>
              </a:r>
            </a:p>
            <a:p>
              <a:pPr marL="228461" marR="0" lvl="0" indent="-228461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ТСУТСТВИЕ ВЗАМОУВЯЗКИ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ого и стратегического планирования</a:t>
              </a:r>
            </a:p>
            <a:p>
              <a:pPr marL="228461" marR="0" lvl="0" indent="-228461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ЗАБЮРОКРАТИЗИРОВАННЫЙ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оцесс планирования расходов </a:t>
              </a:r>
            </a:p>
            <a:p>
              <a:pPr marL="228461" marR="0" lvl="0" indent="-228461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ТСУТСТВИЕ полной картины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                      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 деятельности госоргана, на что выделяются средства,</a:t>
              </a:r>
              <a:r>
                <a:rPr kumimoji="0" lang="ru-RU" sz="1400" b="0" i="0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400" b="0" i="1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собенно актуально для госорганов, не разрабатывающих план развития 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7EEBD49-EFC0-1CCB-DB0D-7D4CDC9385CB}"/>
                </a:ext>
              </a:extLst>
            </p:cNvPr>
            <p:cNvSpPr txBox="1"/>
            <p:nvPr/>
          </p:nvSpPr>
          <p:spPr>
            <a:xfrm>
              <a:off x="4076452" y="595844"/>
              <a:ext cx="323544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R="0" lvl="0" indent="0" defTabSz="919716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2000" b="1" i="0" u="none" strike="noStrike" cap="none" spc="0" normalizeH="0" baseline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>
                  <a:sym typeface="Arial"/>
                </a:rPr>
                <a:t>Структура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98320F5-38B4-75F1-9251-4BAB45C5C07C}"/>
                </a:ext>
              </a:extLst>
            </p:cNvPr>
            <p:cNvSpPr txBox="1"/>
            <p:nvPr/>
          </p:nvSpPr>
          <p:spPr>
            <a:xfrm>
              <a:off x="4027387" y="1065179"/>
              <a:ext cx="3920202" cy="3462420"/>
            </a:xfrm>
            <a:prstGeom prst="rect">
              <a:avLst/>
            </a:prstGeom>
            <a:noFill/>
          </p:spPr>
          <p:txBody>
            <a:bodyPr wrap="square" lIns="121853" tIns="60927" rIns="121853" bIns="60927" rtlCol="0">
              <a:spAutoFit/>
            </a:bodyPr>
            <a:lstStyle/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аспорт 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дминистратора бюджетной программы (АБП)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грегированная информация о бюджетной программе </a:t>
              </a:r>
            </a:p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твержденный план развития госоргана</a:t>
              </a:r>
            </a:p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аспорта 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ых программ </a:t>
              </a:r>
            </a:p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водный перечень 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государственных инвестиционных проектов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304792" marR="0" lvl="0" indent="-304792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счеты (приложение к паспорту 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ой программы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)</a:t>
              </a:r>
            </a:p>
          </p:txBody>
        </p: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73DEA938-07B6-464B-BF09-1CF37BE94DF6}"/>
                </a:ext>
              </a:extLst>
            </p:cNvPr>
            <p:cNvCxnSpPr>
              <a:cxnSpLocks/>
            </p:cNvCxnSpPr>
            <p:nvPr/>
          </p:nvCxnSpPr>
          <p:spPr>
            <a:xfrm>
              <a:off x="3955215" y="1065179"/>
              <a:ext cx="0" cy="4407466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73DEA938-07B6-464B-BF09-1CF37BE94DF6}"/>
                </a:ext>
              </a:extLst>
            </p:cNvPr>
            <p:cNvCxnSpPr>
              <a:cxnSpLocks/>
            </p:cNvCxnSpPr>
            <p:nvPr/>
          </p:nvCxnSpPr>
          <p:spPr>
            <a:xfrm>
              <a:off x="7933144" y="1040662"/>
              <a:ext cx="13395" cy="4420428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20" name="TextBox 19"/>
          <p:cNvSpPr txBox="1"/>
          <p:nvPr/>
        </p:nvSpPr>
        <p:spPr>
          <a:xfrm>
            <a:off x="10743268" y="217596"/>
            <a:ext cx="1722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продолжение</a:t>
            </a:r>
          </a:p>
        </p:txBody>
      </p:sp>
    </p:spTree>
    <p:extLst>
      <p:ext uri="{BB962C8B-B14F-4D97-AF65-F5344CB8AC3E}">
        <p14:creationId xmlns:p14="http://schemas.microsoft.com/office/powerpoint/2010/main" val="141080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82600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-8965" y="534510"/>
            <a:ext cx="12142172" cy="6225253"/>
            <a:chOff x="-8965" y="534510"/>
            <a:chExt cx="12142172" cy="6225253"/>
          </a:xfrm>
        </p:grpSpPr>
        <p:sp>
          <p:nvSpPr>
            <p:cNvPr id="180227" name="Прямоугольник 2"/>
            <p:cNvSpPr>
              <a:spLocks noChangeArrowheads="1"/>
            </p:cNvSpPr>
            <p:nvPr/>
          </p:nvSpPr>
          <p:spPr bwMode="auto">
            <a:xfrm>
              <a:off x="-8965" y="534510"/>
              <a:ext cx="11457513" cy="420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399" tIns="45719" rIns="91399" bIns="45719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indent="-342900" algn="ctr" defTabSz="1200254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ü"/>
              </a:pPr>
              <a:r>
                <a:rPr lang="ru-RU" altLang="en-US" sz="2133" b="1" dirty="0">
                  <a:solidFill>
                    <a:srgbClr val="2DB757">
                      <a:lumMod val="50000"/>
                    </a:srgbClr>
                  </a:solidFill>
                </a:rPr>
                <a:t>ОБЕСПЕЧЕНИЕ ВЗАИМОУВЯЗКИ стратегического и бюджетного планирования</a:t>
              </a:r>
            </a:p>
          </p:txBody>
        </p:sp>
        <p:sp>
          <p:nvSpPr>
            <p:cNvPr id="180228" name="TextBox 40"/>
            <p:cNvSpPr txBox="1">
              <a:spLocks noChangeArrowheads="1"/>
            </p:cNvSpPr>
            <p:nvPr/>
          </p:nvSpPr>
          <p:spPr bwMode="auto">
            <a:xfrm>
              <a:off x="9568870" y="1918003"/>
              <a:ext cx="2540000" cy="1077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9" tIns="45719" rIns="91399" bIns="45719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dirty="0">
                  <a:solidFill>
                    <a:srgbClr val="C00000"/>
                  </a:solidFill>
                </a:rPr>
                <a:t>(недофинансирование и др. причины, </a:t>
              </a:r>
              <a:r>
                <a:rPr lang="ru-RU" altLang="en-US" sz="1600" b="1" dirty="0">
                  <a:solidFill>
                    <a:srgbClr val="C00000"/>
                  </a:solidFill>
                </a:rPr>
                <a:t>определяется пул расходов</a:t>
              </a:r>
              <a:r>
                <a:rPr lang="ru-RU" altLang="en-US" sz="1600" dirty="0">
                  <a:solidFill>
                    <a:srgbClr val="C00000"/>
                  </a:solidFill>
                </a:rPr>
                <a:t>)</a:t>
              </a:r>
            </a:p>
          </p:txBody>
        </p:sp>
        <p:sp>
          <p:nvSpPr>
            <p:cNvPr id="180229" name="TextBox 51"/>
            <p:cNvSpPr txBox="1">
              <a:spLocks noChangeArrowheads="1"/>
            </p:cNvSpPr>
            <p:nvPr/>
          </p:nvSpPr>
          <p:spPr bwMode="auto">
            <a:xfrm>
              <a:off x="9679991" y="3055161"/>
              <a:ext cx="2453216" cy="3704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99" tIns="45719" rIns="91399" bIns="45719">
              <a:spAutoFit/>
            </a:bodyPr>
            <a:lstStyle>
              <a:lvl1pPr marL="212725" indent="-212725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marL="283626" indent="-283626" defTabSz="912261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67" b="1" dirty="0">
                  <a:solidFill>
                    <a:srgbClr val="385723"/>
                  </a:solidFill>
                </a:rPr>
                <a:t>Предмет </a:t>
              </a:r>
              <a:r>
                <a:rPr lang="ru-RU" altLang="en-US" sz="1467" dirty="0">
                  <a:solidFill>
                    <a:srgbClr val="1F4E79"/>
                  </a:solidFill>
                </a:rPr>
                <a:t>уточнения, корректировки/пере-распределения и след. формирования бюджета</a:t>
              </a:r>
            </a:p>
            <a:p>
              <a:pPr marL="283626" indent="-283626" defTabSz="912261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67" b="1" dirty="0">
                  <a:solidFill>
                    <a:srgbClr val="385723"/>
                  </a:solidFill>
                </a:rPr>
                <a:t>Разница</a:t>
              </a:r>
              <a:r>
                <a:rPr lang="ru-RU" altLang="en-US" sz="1467" dirty="0">
                  <a:solidFill>
                    <a:srgbClr val="1F4E79"/>
                  </a:solidFill>
                </a:rPr>
                <a:t> между целевым индикатором и конечным результатом </a:t>
              </a:r>
              <a:r>
                <a:rPr lang="ru-RU" altLang="en-US" sz="1467" b="1" u="sng" dirty="0">
                  <a:solidFill>
                    <a:srgbClr val="1F4E79"/>
                  </a:solidFill>
                </a:rPr>
                <a:t>не является </a:t>
              </a:r>
              <a:r>
                <a:rPr lang="ru-RU" altLang="en-US" sz="1467" b="1" dirty="0">
                  <a:solidFill>
                    <a:srgbClr val="1F4E79"/>
                  </a:solidFill>
                </a:rPr>
                <a:t>нарушением бюджетного законодательства</a:t>
              </a:r>
            </a:p>
            <a:p>
              <a:pPr marL="283626" indent="-283626" defTabSz="912261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67" dirty="0">
                  <a:solidFill>
                    <a:srgbClr val="1F4E79"/>
                  </a:solidFill>
                </a:rPr>
                <a:t>Обеспечение </a:t>
              </a:r>
              <a:r>
                <a:rPr lang="ru-RU" altLang="en-US" sz="1467" b="1" dirty="0">
                  <a:solidFill>
                    <a:srgbClr val="1F4E79"/>
                  </a:solidFill>
                </a:rPr>
                <a:t>последовательности</a:t>
              </a:r>
              <a:r>
                <a:rPr lang="ru-RU" altLang="en-US" sz="1467" dirty="0">
                  <a:solidFill>
                    <a:srgbClr val="1F4E79"/>
                  </a:solidFill>
                </a:rPr>
                <a:t> бюджетных решений</a:t>
              </a:r>
            </a:p>
          </p:txBody>
        </p:sp>
        <p:sp>
          <p:nvSpPr>
            <p:cNvPr id="180231" name="TextBox 7"/>
            <p:cNvSpPr txBox="1">
              <a:spLocks noChangeArrowheads="1"/>
            </p:cNvSpPr>
            <p:nvPr/>
          </p:nvSpPr>
          <p:spPr bwMode="auto">
            <a:xfrm>
              <a:off x="3042293" y="1450914"/>
              <a:ext cx="1255184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Цель</a:t>
              </a:r>
            </a:p>
          </p:txBody>
        </p:sp>
        <p:sp>
          <p:nvSpPr>
            <p:cNvPr id="180232" name="TextBox 8"/>
            <p:cNvSpPr txBox="1">
              <a:spLocks noChangeArrowheads="1"/>
            </p:cNvSpPr>
            <p:nvPr/>
          </p:nvSpPr>
          <p:spPr bwMode="auto">
            <a:xfrm>
              <a:off x="5372545" y="1405077"/>
              <a:ext cx="354753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Целевой индикатор</a:t>
              </a:r>
            </a:p>
          </p:txBody>
        </p:sp>
        <p:sp>
          <p:nvSpPr>
            <p:cNvPr id="180233" name="TextBox 5"/>
            <p:cNvSpPr txBox="1">
              <a:spLocks noChangeArrowheads="1"/>
            </p:cNvSpPr>
            <p:nvPr/>
          </p:nvSpPr>
          <p:spPr bwMode="auto">
            <a:xfrm>
              <a:off x="131234" y="1520286"/>
              <a:ext cx="2683933" cy="6975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44546A"/>
                  </a:solidFill>
                </a:rPr>
                <a:t>Планы развития госорганов</a:t>
              </a:r>
            </a:p>
          </p:txBody>
        </p:sp>
        <p:sp>
          <p:nvSpPr>
            <p:cNvPr id="180234" name="TextBox 9"/>
            <p:cNvSpPr txBox="1">
              <a:spLocks noChangeArrowheads="1"/>
            </p:cNvSpPr>
            <p:nvPr/>
          </p:nvSpPr>
          <p:spPr bwMode="auto">
            <a:xfrm>
              <a:off x="119149" y="3332412"/>
              <a:ext cx="2683933" cy="6975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44546A"/>
                  </a:solidFill>
                </a:rPr>
                <a:t>Паспорт бюджетной программы </a:t>
              </a:r>
            </a:p>
          </p:txBody>
        </p:sp>
        <p:sp>
          <p:nvSpPr>
            <p:cNvPr id="180236" name="TextBox 15"/>
            <p:cNvSpPr txBox="1">
              <a:spLocks noChangeArrowheads="1"/>
            </p:cNvSpPr>
            <p:nvPr/>
          </p:nvSpPr>
          <p:spPr bwMode="auto">
            <a:xfrm>
              <a:off x="139700" y="4813995"/>
              <a:ext cx="4857350" cy="4101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Прямой результат и мероприятие</a:t>
              </a:r>
              <a:endParaRPr lang="ru-RU" altLang="en-US" sz="1867" dirty="0">
                <a:solidFill>
                  <a:srgbClr val="C00000"/>
                </a:solidFill>
              </a:endParaRPr>
            </a:p>
          </p:txBody>
        </p:sp>
        <p:sp>
          <p:nvSpPr>
            <p:cNvPr id="180237" name="TextBox 16"/>
            <p:cNvSpPr txBox="1">
              <a:spLocks noChangeArrowheads="1"/>
            </p:cNvSpPr>
            <p:nvPr/>
          </p:nvSpPr>
          <p:spPr bwMode="auto">
            <a:xfrm>
              <a:off x="5508626" y="5391234"/>
              <a:ext cx="2076449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мероприятие …1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мероприятие …2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мероприятие …3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мероприятие …4</a:t>
              </a:r>
            </a:p>
          </p:txBody>
        </p:sp>
        <p:sp>
          <p:nvSpPr>
            <p:cNvPr id="180238" name="Прямоугольник 24"/>
            <p:cNvSpPr>
              <a:spLocks noChangeArrowheads="1"/>
            </p:cNvSpPr>
            <p:nvPr/>
          </p:nvSpPr>
          <p:spPr bwMode="auto">
            <a:xfrm>
              <a:off x="5438839" y="4108766"/>
              <a:ext cx="3779195" cy="790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/>
                <a:t>Доля автомобильных дорог областного и районного значения в нормативном  состоянии</a:t>
              </a:r>
              <a:r>
                <a:rPr lang="ru-RU" altLang="en-US" sz="1467" dirty="0"/>
                <a:t>: в 2024 г. </a:t>
              </a:r>
              <a:r>
                <a:rPr lang="ru-RU" altLang="en-US" sz="1600" dirty="0"/>
                <a:t>–                              </a:t>
              </a:r>
              <a:endParaRPr lang="ru-RU" altLang="en-US" sz="3200" dirty="0">
                <a:solidFill>
                  <a:srgbClr val="C00000"/>
                </a:solidFill>
              </a:endParaRPr>
            </a:p>
          </p:txBody>
        </p:sp>
        <p:sp>
          <p:nvSpPr>
            <p:cNvPr id="180239" name="Прямоугольник 39"/>
            <p:cNvSpPr>
              <a:spLocks noChangeArrowheads="1"/>
            </p:cNvSpPr>
            <p:nvPr/>
          </p:nvSpPr>
          <p:spPr bwMode="auto">
            <a:xfrm>
              <a:off x="3083983" y="3542156"/>
              <a:ext cx="5271621" cy="4101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lvl="0"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prstClr val="black"/>
                  </a:solidFill>
                </a:rPr>
                <a:t>цель и целевые индикаторы </a:t>
              </a:r>
              <a:r>
                <a:rPr lang="ru-RU" altLang="en-US" sz="1867" dirty="0">
                  <a:solidFill>
                    <a:prstClr val="black"/>
                  </a:solidFill>
                </a:rPr>
                <a:t>дублируются</a:t>
              </a:r>
            </a:p>
          </p:txBody>
        </p:sp>
        <p:sp>
          <p:nvSpPr>
            <p:cNvPr id="45" name="Стрелка вправо 44"/>
            <p:cNvSpPr/>
            <p:nvPr/>
          </p:nvSpPr>
          <p:spPr>
            <a:xfrm rot="5400000">
              <a:off x="3330074" y="3069332"/>
              <a:ext cx="333715" cy="447014"/>
            </a:xfrm>
            <a:prstGeom prst="rightArrow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119844" tIns="59921" rIns="119844" bIns="59921" anchor="ctr"/>
            <a:lstStyle/>
            <a:p>
              <a:pPr algn="ctr" defTabSz="119950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80242" name="Прямоугольник 45"/>
            <p:cNvSpPr>
              <a:spLocks noChangeArrowheads="1"/>
            </p:cNvSpPr>
            <p:nvPr/>
          </p:nvSpPr>
          <p:spPr bwMode="auto">
            <a:xfrm>
              <a:off x="3029300" y="1844849"/>
              <a:ext cx="2250016" cy="76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dirty="0"/>
                <a:t>Цель 2.1.  «Развитие транспортной инфраструктуры»</a:t>
              </a:r>
            </a:p>
          </p:txBody>
        </p:sp>
        <p:sp>
          <p:nvSpPr>
            <p:cNvPr id="180243" name="Прямоугольник 46"/>
            <p:cNvSpPr>
              <a:spLocks noChangeArrowheads="1"/>
            </p:cNvSpPr>
            <p:nvPr/>
          </p:nvSpPr>
          <p:spPr bwMode="auto">
            <a:xfrm>
              <a:off x="5390973" y="1803173"/>
              <a:ext cx="3987800" cy="1262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/>
                <a:t>Доля автомобильных дорог областного и районного значения в нормативном  состоянии</a:t>
              </a:r>
            </a:p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dirty="0"/>
                <a:t>в 2023 г. – 85%, в 2024 г. – </a:t>
              </a:r>
            </a:p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dirty="0"/>
                <a:t>в 2025 г.- 90%</a:t>
              </a:r>
            </a:p>
          </p:txBody>
        </p:sp>
        <p:sp>
          <p:nvSpPr>
            <p:cNvPr id="51" name="Правая фигурная скобка 50"/>
            <p:cNvSpPr/>
            <p:nvPr/>
          </p:nvSpPr>
          <p:spPr>
            <a:xfrm>
              <a:off x="9408131" y="1270000"/>
              <a:ext cx="343378" cy="5486400"/>
            </a:xfrm>
            <a:prstGeom prst="rightBrace">
              <a:avLst/>
            </a:prstGeom>
            <a:ln w="22225" cmpd="sng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defTabSz="913901">
                <a:defRPr/>
              </a:pPr>
              <a:endParaRPr lang="ru-RU" sz="1867" dirty="0">
                <a:solidFill>
                  <a:prstClr val="black"/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180246" name="Прямоугольник 53"/>
            <p:cNvSpPr>
              <a:spLocks noChangeArrowheads="1"/>
            </p:cNvSpPr>
            <p:nvPr/>
          </p:nvSpPr>
          <p:spPr bwMode="auto">
            <a:xfrm>
              <a:off x="78118" y="1045245"/>
              <a:ext cx="834414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44546A"/>
                  </a:solidFill>
                </a:rPr>
                <a:t>за счет стабильности плана развития госоргана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131234" y="5165563"/>
              <a:ext cx="5308600" cy="15285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kk-KZ" sz="1867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 </a:t>
              </a:r>
              <a:r>
                <a:rPr lang="kk-KZ" sz="1333" b="1" dirty="0">
                  <a:solidFill>
                    <a:srgbClr val="4454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1.</a:t>
              </a:r>
              <a:r>
                <a:rPr lang="kk-KZ" sz="1333" dirty="0">
                  <a:solidFill>
                    <a:srgbClr val="4454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333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отяженность построенных и реконструированных дорог областного и районного значения 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в 2023 году – </a:t>
              </a:r>
              <a:r>
                <a:rPr lang="kk-KZ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7,3 км</a:t>
              </a: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, в 2024 году – 2</a:t>
              </a:r>
              <a:r>
                <a:rPr lang="kk-KZ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7</a:t>
              </a: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,</a:t>
              </a:r>
              <a:r>
                <a:rPr lang="kk-KZ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3 км</a:t>
              </a: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в 2025 году – </a:t>
              </a:r>
              <a:r>
                <a:rPr lang="kk-KZ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4,9 км.</a:t>
              </a:r>
              <a:endPara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defTabSz="1219170">
                <a:buClr>
                  <a:srgbClr val="000000"/>
                </a:buClr>
                <a:defRPr/>
              </a:pPr>
              <a:r>
                <a:rPr lang="kk-KZ" sz="1333" b="1" dirty="0">
                  <a:solidFill>
                    <a:srgbClr val="4454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2.</a:t>
              </a:r>
              <a:r>
                <a:rPr lang="kk-KZ" sz="1333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333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личество проектов, из них: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ru-RU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тырауская: нет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уркестанская: в 2023 году – </a:t>
              </a:r>
              <a:r>
                <a:rPr lang="kk-KZ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1</a:t>
              </a: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, </a:t>
              </a:r>
              <a:b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ru-RU" sz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в 2025 году – 1; </a:t>
              </a:r>
            </a:p>
          </p:txBody>
        </p:sp>
        <p:sp>
          <p:nvSpPr>
            <p:cNvPr id="56" name="Стрелка вправо 55"/>
            <p:cNvSpPr/>
            <p:nvPr/>
          </p:nvSpPr>
          <p:spPr>
            <a:xfrm>
              <a:off x="5076819" y="5705121"/>
              <a:ext cx="314154" cy="449444"/>
            </a:xfrm>
            <a:prstGeom prst="rightArrow">
              <a:avLst/>
            </a:prstGeom>
            <a:solidFill>
              <a:sysClr val="window" lastClr="FFFFFF">
                <a:lumMod val="7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19844" tIns="59921" rIns="119844" bIns="59921" anchor="ctr"/>
            <a:lstStyle/>
            <a:p>
              <a:pPr algn="ctr" defTabSz="119950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80250" name="Прямоугольник 77"/>
            <p:cNvSpPr>
              <a:spLocks noChangeArrowheads="1"/>
            </p:cNvSpPr>
            <p:nvPr/>
          </p:nvSpPr>
          <p:spPr bwMode="auto">
            <a:xfrm>
              <a:off x="9995146" y="1052706"/>
              <a:ext cx="1822852" cy="933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99" tIns="45719" rIns="91399" bIns="45719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5467" b="1" dirty="0">
                  <a:solidFill>
                    <a:srgbClr val="C00000"/>
                  </a:solidFill>
                </a:rPr>
                <a:t>- 2% </a:t>
              </a:r>
              <a:endParaRPr lang="ru-RU" altLang="en-US" sz="5467" dirty="0">
                <a:latin typeface="Calibri" panose="020F0502020204030204" pitchFamily="34" charset="0"/>
              </a:endParaRPr>
            </a:p>
          </p:txBody>
        </p:sp>
        <p:cxnSp>
          <p:nvCxnSpPr>
            <p:cNvPr id="14" name="Прямая со стрелкой 13"/>
            <p:cNvCxnSpPr/>
            <p:nvPr/>
          </p:nvCxnSpPr>
          <p:spPr>
            <a:xfrm>
              <a:off x="8435928" y="2828249"/>
              <a:ext cx="9816" cy="1566317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355605" y="2997949"/>
              <a:ext cx="1261533" cy="87209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ru-RU" sz="1600" b="1" kern="0" dirty="0">
                  <a:solidFill>
                    <a:srgbClr val="4472C4"/>
                  </a:solidFill>
                  <a:latin typeface="Arial"/>
                  <a:cs typeface="Arial"/>
                  <a:sym typeface="Arial"/>
                </a:rPr>
                <a:t>Сейчас значения </a:t>
              </a:r>
              <a:r>
                <a:rPr lang="ru-RU" sz="1867" b="1" kern="0" dirty="0">
                  <a:solidFill>
                    <a:srgbClr val="4472C4"/>
                  </a:solidFill>
                  <a:latin typeface="Arial"/>
                  <a:cs typeface="Arial"/>
                  <a:sym typeface="Arial"/>
                </a:rPr>
                <a:t>«=»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05612" y="2642773"/>
              <a:ext cx="2711449" cy="58496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r>
                <a:rPr lang="ru-RU" sz="1067" b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  <a:sym typeface="Arial"/>
                </a:rPr>
                <a:t>за  счет исключения возможности приведения значений ЦИ планов развития под выделенный бюджет </a:t>
              </a:r>
            </a:p>
          </p:txBody>
        </p:sp>
        <p:sp>
          <p:nvSpPr>
            <p:cNvPr id="34" name="Прямоугольник 39"/>
            <p:cNvSpPr>
              <a:spLocks noChangeArrowheads="1"/>
            </p:cNvSpPr>
            <p:nvPr/>
          </p:nvSpPr>
          <p:spPr bwMode="auto">
            <a:xfrm>
              <a:off x="139699" y="4205709"/>
              <a:ext cx="4857349" cy="4101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Показатель конечного результата</a:t>
              </a:r>
            </a:p>
          </p:txBody>
        </p:sp>
        <p:sp>
          <p:nvSpPr>
            <p:cNvPr id="36" name="Стрелка вправо 35"/>
            <p:cNvSpPr/>
            <p:nvPr/>
          </p:nvSpPr>
          <p:spPr>
            <a:xfrm>
              <a:off x="5063322" y="4225677"/>
              <a:ext cx="309223" cy="425450"/>
            </a:xfrm>
            <a:prstGeom prst="rightArrow">
              <a:avLst/>
            </a:prstGeom>
            <a:solidFill>
              <a:sysClr val="window" lastClr="FFFFFF">
                <a:lumMod val="7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19844" tIns="59921" rIns="119844" bIns="59921" anchor="ctr"/>
            <a:lstStyle/>
            <a:p>
              <a:pPr algn="ctr" defTabSz="119950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8026865" y="4858872"/>
              <a:ext cx="1005403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altLang="en-US" sz="3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5%</a:t>
              </a:r>
              <a:endParaRPr lang="ru-RU" sz="3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7898514" y="2334964"/>
            <a:ext cx="12195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en-US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%</a:t>
            </a:r>
            <a:r>
              <a:rPr lang="ru-RU" alt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8118" y="1729"/>
            <a:ext cx="65753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ОПТИМИЗАЦИЯ 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документов планирования </a:t>
            </a:r>
            <a:endParaRPr lang="ru-RU" sz="2400" dirty="0">
              <a:solidFill>
                <a:srgbClr val="4F81BD">
                  <a:lumMod val="50000"/>
                </a:srgbClr>
              </a:solidFill>
              <a:latin typeface="Arial" pitchFamily="34" charset="0"/>
              <a:ea typeface="Arial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0606015" y="136560"/>
            <a:ext cx="15028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продолжение</a:t>
            </a:r>
          </a:p>
        </p:txBody>
      </p:sp>
      <p:sp>
        <p:nvSpPr>
          <p:cNvPr id="40" name="Стрелка вправо 39"/>
          <p:cNvSpPr/>
          <p:nvPr/>
        </p:nvSpPr>
        <p:spPr>
          <a:xfrm rot="5400000">
            <a:off x="6294706" y="3051940"/>
            <a:ext cx="333715" cy="44701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119844" tIns="59921" rIns="119844" bIns="59921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Стрелка вправо 40"/>
          <p:cNvSpPr/>
          <p:nvPr/>
        </p:nvSpPr>
        <p:spPr>
          <a:xfrm>
            <a:off x="2822454" y="3489485"/>
            <a:ext cx="219839" cy="462861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44" tIns="59921" rIns="119844" bIns="59921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66346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42"/>
          <p:cNvGrpSpPr/>
          <p:nvPr/>
        </p:nvGrpSpPr>
        <p:grpSpPr>
          <a:xfrm>
            <a:off x="-69102" y="87609"/>
            <a:ext cx="12261102" cy="6457431"/>
            <a:chOff x="-69102" y="87609"/>
            <a:chExt cx="12261102" cy="6457431"/>
          </a:xfrm>
        </p:grpSpPr>
        <p:cxnSp>
          <p:nvCxnSpPr>
            <p:cNvPr id="2" name="Straight Connector 88">
              <a:extLst>
                <a:ext uri="{FF2B5EF4-FFF2-40B4-BE49-F238E27FC236}">
                  <a16:creationId xmlns:a16="http://schemas.microsoft.com/office/drawing/2014/main" id="{C53A6420-60A9-4666-961F-FECA774BA23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26047"/>
              <a:ext cx="12192000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187FD27-27DF-9647-9B2E-EB147BFD9363}"/>
                </a:ext>
              </a:extLst>
            </p:cNvPr>
            <p:cNvSpPr txBox="1"/>
            <p:nvPr/>
          </p:nvSpPr>
          <p:spPr>
            <a:xfrm>
              <a:off x="0" y="476220"/>
              <a:ext cx="11622280" cy="46320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20291" lvl="0" indent="-285750" defTabSz="515653" fontAlgn="base">
                <a:lnSpc>
                  <a:spcPct val="113000"/>
                </a:lnSpc>
                <a:spcAft>
                  <a:spcPts val="300"/>
                </a:spcAft>
                <a:buFont typeface="Wingdings" panose="05000000000000000000" pitchFamily="2" charset="2"/>
                <a:buChar char="§"/>
                <a:tabLst>
                  <a:tab pos="200025" algn="l"/>
                </a:tabLst>
                <a:defRPr/>
              </a:pPr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ЕИНЖИНИРИНГ 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ого процесса c сокращением сроков и этапов в два раза</a:t>
              </a:r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560668" y="2416997"/>
              <a:ext cx="6150607" cy="1382890"/>
              <a:chOff x="138694" y="1011439"/>
              <a:chExt cx="5895698" cy="1453231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3">
                <p14:nvContentPartPr>
                  <p14:cNvPr id="23" name="Ink 11">
                    <a:extLst>
                      <a:ext uri="{FF2B5EF4-FFF2-40B4-BE49-F238E27FC236}">
                        <a16:creationId xmlns:a16="http://schemas.microsoft.com/office/drawing/2014/main" id="{94774D7E-7C79-4687-AEEA-C1A388F4CADE}"/>
                      </a:ext>
                    </a:extLst>
                  </p14:cNvPr>
                  <p14:cNvContentPartPr/>
                  <p14:nvPr/>
                </p14:nvContentPartPr>
                <p14:xfrm>
                  <a:off x="138694" y="1954480"/>
                  <a:ext cx="595" cy="294"/>
                </p14:xfrm>
              </p:contentPart>
            </mc:Choice>
            <mc:Fallback xmlns="">
              <p:pic>
                <p:nvPicPr>
                  <p:cNvPr id="79" name="Ink 11">
                    <a:extLst>
                      <a:ext uri="{FF2B5EF4-FFF2-40B4-BE49-F238E27FC236}">
                        <a16:creationId xmlns:a16="http://schemas.microsoft.com/office/drawing/2014/main" xmlns:p14="http://schemas.microsoft.com/office/powerpoint/2010/main" xmlns="" id="{94774D7E-7C79-4687-AEEA-C1A388F4CADE}"/>
                      </a:ext>
                    </a:extLst>
                  </p:cNvPr>
                  <p:cNvPicPr/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135124" y="1952716"/>
                    <a:ext cx="7735" cy="3822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24" name="Стрелка: пятиугольник 7">
                <a:extLst>
                  <a:ext uri="{FF2B5EF4-FFF2-40B4-BE49-F238E27FC236}">
                    <a16:creationId xmlns:a16="http://schemas.microsoft.com/office/drawing/2014/main" id="{04D67ABB-12DA-4834-A86C-F4EC5C75F4F2}"/>
                  </a:ext>
                </a:extLst>
              </p:cNvPr>
              <p:cNvSpPr/>
              <p:nvPr/>
            </p:nvSpPr>
            <p:spPr>
              <a:xfrm>
                <a:off x="858693" y="1011439"/>
                <a:ext cx="5175699" cy="1405423"/>
              </a:xfrm>
              <a:prstGeom prst="homePlate">
                <a:avLst>
                  <a:gd name="adj" fmla="val 37397"/>
                </a:avLst>
              </a:prstGeom>
              <a:pattFill prst="ltDnDiag">
                <a:fgClr>
                  <a:schemeClr val="bg1">
                    <a:lumMod val="9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x-none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4E9C43F6-23BC-4D64-B0A9-D9B6F202C5C0}"/>
                  </a:ext>
                </a:extLst>
              </p:cNvPr>
              <p:cNvSpPr/>
              <p:nvPr/>
            </p:nvSpPr>
            <p:spPr>
              <a:xfrm>
                <a:off x="943421" y="1073914"/>
                <a:ext cx="4600678" cy="13907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D7D31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с 15 мая по 1 сентября 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рассмотрение бюджетных заявок и бюджетных программ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рассмотрение проекта бюджета РБК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второй этап разработки ПСЭР</a:t>
                </a:r>
              </a:p>
            </p:txBody>
          </p:sp>
        </p:grpSp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1" name="Ink 11">
                  <a:extLst>
                    <a:ext uri="{FF2B5EF4-FFF2-40B4-BE49-F238E27FC236}">
                      <a16:creationId xmlns:a16="http://schemas.microsoft.com/office/drawing/2014/main" id="{94774D7E-7C79-4687-AEEA-C1A388F4CADE}"/>
                    </a:ext>
                  </a:extLst>
                </p14:cNvPr>
                <p14:cNvContentPartPr/>
                <p14:nvPr/>
              </p14:nvContentPartPr>
              <p14:xfrm>
                <a:off x="501152" y="2060780"/>
                <a:ext cx="620" cy="329"/>
              </p14:xfrm>
            </p:contentPart>
          </mc:Choice>
          <mc:Fallback xmlns="">
            <p:pic>
              <p:nvPicPr>
                <p:cNvPr id="11" name="Ink 11">
                  <a:extLst>
                    <a:ext uri="{FF2B5EF4-FFF2-40B4-BE49-F238E27FC236}">
                      <a16:creationId xmlns:a16="http://schemas.microsoft.com/office/drawing/2014/main" id="{94774D7E-7C79-4687-AEEA-C1A388F4CAD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97432" y="2058806"/>
                  <a:ext cx="8060" cy="4277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3" name="Группа 2"/>
            <p:cNvGrpSpPr/>
            <p:nvPr/>
          </p:nvGrpSpPr>
          <p:grpSpPr>
            <a:xfrm>
              <a:off x="1285694" y="1105413"/>
              <a:ext cx="5236724" cy="1146736"/>
              <a:chOff x="1394813" y="1290358"/>
              <a:chExt cx="5236724" cy="1146736"/>
            </a:xfrm>
          </p:grpSpPr>
          <p:sp>
            <p:nvSpPr>
              <p:cNvPr id="12" name="Стрелка: пятиугольник 7">
                <a:extLst>
                  <a:ext uri="{FF2B5EF4-FFF2-40B4-BE49-F238E27FC236}">
                    <a16:creationId xmlns:a16="http://schemas.microsoft.com/office/drawing/2014/main" id="{04D67ABB-12DA-4834-A86C-F4EC5C75F4F2}"/>
                  </a:ext>
                </a:extLst>
              </p:cNvPr>
              <p:cNvSpPr/>
              <p:nvPr/>
            </p:nvSpPr>
            <p:spPr>
              <a:xfrm>
                <a:off x="1394813" y="1290358"/>
                <a:ext cx="5236724" cy="1131421"/>
              </a:xfrm>
              <a:prstGeom prst="homePlate">
                <a:avLst>
                  <a:gd name="adj" fmla="val 37397"/>
                </a:avLst>
              </a:prstGeom>
              <a:pattFill prst="ltDnDiag">
                <a:fgClr>
                  <a:schemeClr val="bg1">
                    <a:lumMod val="8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lIns="121853" tIns="60927" rIns="121853" bIns="60927"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x-none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13" name="Прямоугольник 12">
                <a:extLst>
                  <a:ext uri="{FF2B5EF4-FFF2-40B4-BE49-F238E27FC236}">
                    <a16:creationId xmlns:a16="http://schemas.microsoft.com/office/drawing/2014/main" id="{4E9C43F6-23BC-4D64-B0A9-D9B6F202C5C0}"/>
                  </a:ext>
                </a:extLst>
              </p:cNvPr>
              <p:cNvSpPr/>
              <p:nvPr/>
            </p:nvSpPr>
            <p:spPr>
              <a:xfrm>
                <a:off x="1470789" y="1329165"/>
                <a:ext cx="4797555" cy="1107929"/>
              </a:xfrm>
              <a:prstGeom prst="rect">
                <a:avLst/>
              </a:prstGeom>
            </p:spPr>
            <p:txBody>
              <a:bodyPr wrap="square" lIns="121853" tIns="60927" rIns="121853" bIns="60927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D7D31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с 15 марта по 15 мая 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рассмотрение планов развития и бюджетных программ ГО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первый этап разработки ПСЭР</a:t>
                </a:r>
              </a:p>
            </p:txBody>
          </p:sp>
        </p:grpSp>
        <p:sp>
          <p:nvSpPr>
            <p:cNvPr id="17" name="Прямоугольник 16"/>
            <p:cNvSpPr/>
            <p:nvPr/>
          </p:nvSpPr>
          <p:spPr>
            <a:xfrm>
              <a:off x="8248175" y="5676590"/>
              <a:ext cx="2498306" cy="430821"/>
            </a:xfrm>
            <a:prstGeom prst="rect">
              <a:avLst/>
            </a:prstGeom>
          </p:spPr>
          <p:txBody>
            <a:bodyPr wrap="none" lIns="121853" tIns="60927" rIns="121853" bIns="60927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kk-KZ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3 месяца/90 дней </a:t>
              </a: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2111186" y="5879183"/>
              <a:ext cx="2798067" cy="430821"/>
            </a:xfrm>
            <a:prstGeom prst="rect">
              <a:avLst/>
            </a:prstGeom>
          </p:spPr>
          <p:txBody>
            <a:bodyPr wrap="none" lIns="121853" tIns="60927" rIns="121853" bIns="60927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kk-KZ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7 месяцев/220 дней </a:t>
              </a: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B202BD12-27FC-45BD-A340-7A31BBFA4CD7}"/>
                </a:ext>
              </a:extLst>
            </p:cNvPr>
            <p:cNvCxnSpPr/>
            <p:nvPr/>
          </p:nvCxnSpPr>
          <p:spPr>
            <a:xfrm>
              <a:off x="11774347" y="1412622"/>
              <a:ext cx="0" cy="3292335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88">
              <a:extLst>
                <a:ext uri="{FF2B5EF4-FFF2-40B4-BE49-F238E27FC236}">
                  <a16:creationId xmlns:a16="http://schemas.microsoft.com/office/drawing/2014/main" id="{34BD5EDD-C65A-46EB-B482-93DECAA4DD20}"/>
                </a:ext>
              </a:extLst>
            </p:cNvPr>
            <p:cNvSpPr>
              <a:spLocks/>
            </p:cNvSpPr>
            <p:nvPr/>
          </p:nvSpPr>
          <p:spPr bwMode="gray">
            <a:xfrm>
              <a:off x="7813144" y="3857503"/>
              <a:ext cx="2118309" cy="160182"/>
            </a:xfrm>
            <a:prstGeom prst="rect">
              <a:avLst/>
            </a:prstGeom>
            <a:solidFill>
              <a:srgbClr val="FBE18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327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29" name="Rectangle: Rounded Corners 124">
              <a:extLst>
                <a:ext uri="{FF2B5EF4-FFF2-40B4-BE49-F238E27FC236}">
                  <a16:creationId xmlns:a16="http://schemas.microsoft.com/office/drawing/2014/main" id="{7E7A58A2-4EA2-4583-B375-F2FA5D943942}"/>
                </a:ext>
              </a:extLst>
            </p:cNvPr>
            <p:cNvSpPr/>
            <p:nvPr/>
          </p:nvSpPr>
          <p:spPr>
            <a:xfrm>
              <a:off x="7152622" y="1477074"/>
              <a:ext cx="4667486" cy="4000362"/>
            </a:xfrm>
            <a:prstGeom prst="roundRect">
              <a:avLst>
                <a:gd name="adj" fmla="val 4038"/>
              </a:avLst>
            </a:prstGeom>
            <a:solidFill>
              <a:schemeClr val="bg1"/>
            </a:solidFill>
            <a:ln w="12700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7" tIns="45708" rIns="91417" bIns="45708" rtlCol="0" anchor="ctr"/>
            <a:lstStyle/>
            <a:p>
              <a:pPr marL="0" marR="0" lvl="0" indent="0" algn="ctr" defTabSz="6849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Прямоугольник 115">
              <a:extLst>
                <a:ext uri="{FF2B5EF4-FFF2-40B4-BE49-F238E27FC236}">
                  <a16:creationId xmlns:a16="http://schemas.microsoft.com/office/drawing/2014/main" id="{81A0C247-E754-4626-8A56-FB6D1D316DE6}"/>
                </a:ext>
              </a:extLst>
            </p:cNvPr>
            <p:cNvSpPr/>
            <p:nvPr/>
          </p:nvSpPr>
          <p:spPr>
            <a:xfrm>
              <a:off x="7156981" y="1577196"/>
              <a:ext cx="4658897" cy="2893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68563" tIns="34281" rIns="68563" bIns="34281">
              <a:spAutoFit/>
            </a:bodyPr>
            <a:lstStyle>
              <a:defPPr>
                <a:defRPr lang="ru-RU"/>
              </a:defPPr>
              <a:lvl1pPr marL="0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66528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33056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99585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66115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332644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99171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65699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732228" algn="l" defTabSz="933056" rtl="0" eaLnBrk="1" latinLnBrk="0" hangingPunct="1"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440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467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itchFamily="34" charset="0"/>
                <a:ea typeface="Barlow Condensed"/>
                <a:cs typeface="Arial" pitchFamily="34" charset="0"/>
                <a:sym typeface="Arial"/>
              </a:endParaRPr>
            </a:p>
          </p:txBody>
        </p:sp>
        <p:grpSp>
          <p:nvGrpSpPr>
            <p:cNvPr id="39" name="Группа 38"/>
            <p:cNvGrpSpPr/>
            <p:nvPr/>
          </p:nvGrpSpPr>
          <p:grpSpPr>
            <a:xfrm>
              <a:off x="7095183" y="1141573"/>
              <a:ext cx="4736533" cy="4371307"/>
              <a:chOff x="7188464" y="1346233"/>
              <a:chExt cx="4736533" cy="4371307"/>
            </a:xfrm>
          </p:grpSpPr>
          <p:sp>
            <p:nvSpPr>
              <p:cNvPr id="27" name="Rectangle 286">
                <a:extLst>
                  <a:ext uri="{FF2B5EF4-FFF2-40B4-BE49-F238E27FC236}">
                    <a16:creationId xmlns:a16="http://schemas.microsoft.com/office/drawing/2014/main" id="{7CCFB9E1-F2B7-4888-8CA2-D42A5BA9EB3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7188464" y="1417017"/>
                <a:ext cx="4736533" cy="4300523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bg1">
                    <a:lumMod val="9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6611" marR="0" lvl="1" indent="0" algn="l" defTabSz="91327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/>
                  <a:sym typeface="Arial"/>
                </a:endParaRPr>
              </a:p>
            </p:txBody>
          </p:sp>
          <p:grpSp>
            <p:nvGrpSpPr>
              <p:cNvPr id="38" name="Группа 37"/>
              <p:cNvGrpSpPr/>
              <p:nvPr/>
            </p:nvGrpSpPr>
            <p:grpSpPr>
              <a:xfrm>
                <a:off x="7232574" y="1346233"/>
                <a:ext cx="4659171" cy="1344541"/>
                <a:chOff x="5490001" y="1032489"/>
                <a:chExt cx="3481562" cy="952427"/>
              </a:xfrm>
            </p:grpSpPr>
            <p:sp>
              <p:nvSpPr>
                <p:cNvPr id="8" name="Rectangle 104">
                  <a:extLst>
                    <a:ext uri="{FF2B5EF4-FFF2-40B4-BE49-F238E27FC236}">
                      <a16:creationId xmlns:a16="http://schemas.microsoft.com/office/drawing/2014/main" id="{DC382889-BEBB-482E-9BDD-302E0EBF5A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0001" y="1032489"/>
                  <a:ext cx="3481562" cy="50141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21853" tIns="60927" rIns="121853" bIns="60927" rtlCol="0" anchor="ctr"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10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/>
                    <a:sym typeface="Arial"/>
                  </a:endParaRPr>
                </a:p>
              </p:txBody>
            </p:sp>
            <p:sp>
              <p:nvSpPr>
                <p:cNvPr id="10" name="Rectangle 104">
                  <a:extLst>
                    <a:ext uri="{FF2B5EF4-FFF2-40B4-BE49-F238E27FC236}">
                      <a16:creationId xmlns:a16="http://schemas.microsoft.com/office/drawing/2014/main" id="{DC382889-BEBB-482E-9BDD-302E0EBF5A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32630" y="1934775"/>
                  <a:ext cx="3391352" cy="50141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121853" tIns="60927" rIns="121853" bIns="60927" rtlCol="0" anchor="ctr">
                  <a:noAutofit/>
                </a:bodyPr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ru-RU" sz="1067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ＭＳ Ｐゴシック"/>
                    <a:cs typeface="Arial"/>
                    <a:sym typeface="Arial"/>
                  </a:endParaRPr>
                </a:p>
              </p:txBody>
            </p:sp>
            <p:sp>
              <p:nvSpPr>
                <p:cNvPr id="14" name="Oval 223">
                  <a:extLst>
                    <a:ext uri="{FF2B5EF4-FFF2-40B4-BE49-F238E27FC236}">
                      <a16:creationId xmlns:a16="http://schemas.microsoft.com/office/drawing/2014/main" id="{6812F1C0-FF38-4FCD-B9C5-C25AEEFC5F1A}"/>
                    </a:ext>
                  </a:extLst>
                </p:cNvPr>
                <p:cNvSpPr/>
                <p:nvPr/>
              </p:nvSpPr>
              <p:spPr bwMode="gray">
                <a:xfrm>
                  <a:off x="6476559" y="1230413"/>
                  <a:ext cx="1748561" cy="650035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 w="6667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29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endParaRPr kumimoji="0" lang="en-GB" sz="1600" b="0" i="0" u="none" strike="noStrike" kern="0" cap="none" spc="0" normalizeH="0" baseline="0" noProof="0" dirty="0">
                    <a:ln>
                      <a:solidFill>
                        <a:srgbClr val="FFC000"/>
                      </a:solidFill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ato Heavy"/>
                    <a:ea typeface="ＭＳ Ｐゴシック"/>
                    <a:cs typeface="Arial"/>
                    <a:sym typeface="Arial"/>
                  </a:endParaRPr>
                </a:p>
              </p:txBody>
            </p:sp>
            <p:sp>
              <p:nvSpPr>
                <p:cNvPr id="15" name="Oval 223">
                  <a:extLst>
                    <a:ext uri="{FF2B5EF4-FFF2-40B4-BE49-F238E27FC236}">
                      <a16:creationId xmlns:a16="http://schemas.microsoft.com/office/drawing/2014/main" id="{FCAD31C4-AC6E-4EA2-9A3F-19E0B73CA6F9}"/>
                    </a:ext>
                  </a:extLst>
                </p:cNvPr>
                <p:cNvSpPr/>
                <p:nvPr/>
              </p:nvSpPr>
              <p:spPr bwMode="gray">
                <a:xfrm>
                  <a:off x="6586472" y="1288736"/>
                  <a:ext cx="1528736" cy="446217"/>
                </a:xfrm>
                <a:prstGeom prst="ellipse">
                  <a:avLst/>
                </a:prstGeom>
                <a:solidFill>
                  <a:schemeClr val="bg1"/>
                </a:solidFill>
                <a:ln w="2857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329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ru-RU" sz="2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546A">
                          <a:lumMod val="75000"/>
                        </a:srgbClr>
                      </a:solidFill>
                      <a:effectLst/>
                      <a:uLnTx/>
                      <a:uFillTx/>
                      <a:latin typeface="Lato Heavy"/>
                      <a:ea typeface="ＭＳ Ｐゴシック"/>
                      <a:cs typeface="Arial"/>
                      <a:sym typeface="Arial"/>
                    </a:rPr>
                    <a:t>один этап</a:t>
                  </a:r>
                  <a:endParaRPr kumimoji="0" lang="en-GB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75000"/>
                      </a:srgbClr>
                    </a:solidFill>
                    <a:effectLst/>
                    <a:uLnTx/>
                    <a:uFillTx/>
                    <a:latin typeface="Lato Heavy"/>
                    <a:ea typeface="ＭＳ Ｐゴシック"/>
                    <a:cs typeface="Arial"/>
                    <a:sym typeface="Arial"/>
                  </a:endParaRPr>
                </a:p>
              </p:txBody>
            </p:sp>
          </p:grpSp>
          <p:sp>
            <p:nvSpPr>
              <p:cNvPr id="18" name="Прямоугольник 17"/>
              <p:cNvSpPr/>
              <p:nvPr/>
            </p:nvSpPr>
            <p:spPr>
              <a:xfrm>
                <a:off x="7417012" y="3238646"/>
                <a:ext cx="4378871" cy="2031643"/>
              </a:xfrm>
              <a:prstGeom prst="rect">
                <a:avLst/>
              </a:prstGeom>
            </p:spPr>
            <p:txBody>
              <a:bodyPr wrap="square" lIns="121853" tIns="60927" rIns="121853" bIns="60927">
                <a:spAutoFit/>
              </a:bodyPr>
              <a:lstStyle/>
              <a:p>
                <a:pPr marL="285420" marR="0" lvl="0" indent="-28542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ПСЭР</a:t>
                </a:r>
                <a:r>
                  <a:rPr kumimoji="0" lang="kk-KZ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;</a:t>
                </a:r>
              </a:p>
              <a:p>
                <a:pPr marL="285420" indent="-285420" defTabSz="1219170">
                  <a:buClr>
                    <a:srgbClr val="44546A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1467" i="1" kern="0" dirty="0">
                    <a:solidFill>
                      <a:srgbClr val="1F497D"/>
                    </a:solidFill>
                    <a:latin typeface="Arial" pitchFamily="34" charset="0"/>
                    <a:cs typeface="Arial"/>
                    <a:sym typeface="Arial"/>
                  </a:rPr>
                  <a:t>лимиты по блокам расходов</a:t>
                </a:r>
                <a:endParaRPr lang="kk-KZ" sz="1467" i="1" kern="0" dirty="0">
                  <a:solidFill>
                    <a:srgbClr val="1F497D"/>
                  </a:solidFill>
                  <a:latin typeface="Arial" pitchFamily="34" charset="0"/>
                  <a:cs typeface="Arial"/>
                  <a:sym typeface="Arial"/>
                </a:endParaRPr>
              </a:p>
              <a:p>
                <a:pPr marL="285420" marR="0" lvl="0" indent="-28542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бюджетный запрос как </a:t>
                </a:r>
                <a:r>
                  <a:rPr kumimoji="0" lang="ru-RU" sz="1467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единый документ </a:t>
                </a: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бюджетного планирования </a:t>
                </a:r>
              </a:p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kk-KZ" sz="21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A5A5A5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+ 7 дней в декабре </a:t>
                </a:r>
              </a:p>
              <a:p>
                <a:pPr marL="228594" marR="0" lvl="0" indent="-228594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4546A"/>
                  </a:buClr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kk-KZ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постановление о реализации </a:t>
                </a:r>
                <a:br>
                  <a:rPr kumimoji="0" lang="kk-KZ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</a:br>
                <a:r>
                  <a:rPr kumimoji="0" lang="kk-KZ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в упрощенном виде </a:t>
                </a:r>
                <a:r>
                  <a:rPr kumimoji="0" lang="en-US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(</a:t>
                </a:r>
                <a:r>
                  <a:rPr kumimoji="0" lang="kk-KZ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ЦТТ+ЦТР будут переданы в базу ТОХ</a:t>
                </a:r>
                <a:r>
                  <a:rPr kumimoji="0" lang="en-US" sz="1467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1F497D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/>
                    <a:sym typeface="Arial"/>
                  </a:rPr>
                  <a:t>)</a:t>
                </a:r>
                <a:endParaRPr kumimoji="0" lang="kk-KZ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848843" y="2707262"/>
                <a:ext cx="3995931" cy="451275"/>
              </a:xfrm>
              <a:prstGeom prst="rect">
                <a:avLst/>
              </a:prstGeom>
              <a:noFill/>
            </p:spPr>
            <p:txBody>
              <a:bodyPr wrap="square" lIns="121853" tIns="60927" rIns="121853" bIns="60927" rtlCol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21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A5A5A5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с 1 июня по 1 сентября </a:t>
                </a:r>
              </a:p>
            </p:txBody>
          </p:sp>
        </p:grpSp>
        <p:sp>
          <p:nvSpPr>
            <p:cNvPr id="21" name="Стрелка вниз 20"/>
            <p:cNvSpPr/>
            <p:nvPr/>
          </p:nvSpPr>
          <p:spPr>
            <a:xfrm>
              <a:off x="3105133" y="5681246"/>
              <a:ext cx="712577" cy="270736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15" tIns="60907" rIns="121815" bIns="60907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86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Стрелка вниз 21"/>
            <p:cNvSpPr/>
            <p:nvPr/>
          </p:nvSpPr>
          <p:spPr>
            <a:xfrm>
              <a:off x="9207879" y="5558658"/>
              <a:ext cx="733773" cy="227205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15" tIns="60907" rIns="121815" bIns="60907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867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168624" y="748739"/>
              <a:ext cx="2812281" cy="430578"/>
            </a:xfrm>
            <a:prstGeom prst="rect">
              <a:avLst/>
            </a:prstGeom>
            <a:noFill/>
          </p:spPr>
          <p:txBody>
            <a:bodyPr wrap="square" lIns="121615" tIns="60807" rIns="121615" bIns="60807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lang="ru-RU" sz="20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едлагается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361670" y="710479"/>
              <a:ext cx="3918596" cy="430578"/>
            </a:xfrm>
            <a:prstGeom prst="rect">
              <a:avLst/>
            </a:prstGeom>
            <a:noFill/>
          </p:spPr>
          <p:txBody>
            <a:bodyPr wrap="square" lIns="121615" tIns="60807" rIns="121615" bIns="60807" rtlCol="0">
              <a:spAutoFit/>
            </a:bodyPr>
            <a:lstStyle/>
            <a:p>
              <a:pPr lvl="0" algn="ctr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ействующая система</a:t>
              </a:r>
              <a:endParaRPr lang="en-US" sz="20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7617382" y="5960265"/>
              <a:ext cx="410156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за счет перезагрузки планов развития и бюджетных программ</a:t>
              </a:r>
            </a:p>
          </p:txBody>
        </p:sp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4" name="Ink 11">
                  <a:extLst>
                    <a:ext uri="{FF2B5EF4-FFF2-40B4-BE49-F238E27FC236}">
                      <a16:creationId xmlns:a16="http://schemas.microsoft.com/office/drawing/2014/main" id="{94774D7E-7C79-4687-AEEA-C1A388F4CADE}"/>
                    </a:ext>
                  </a:extLst>
                </p14:cNvPr>
                <p14:cNvContentPartPr/>
                <p14:nvPr/>
              </p14:nvContentPartPr>
              <p14:xfrm>
                <a:off x="591253" y="4692579"/>
                <a:ext cx="617" cy="267"/>
              </p14:xfrm>
            </p:contentPart>
          </mc:Choice>
          <mc:Fallback xmlns="">
            <p:pic>
              <p:nvPicPr>
                <p:cNvPr id="34" name="Ink 11">
                  <a:extLst>
                    <a:ext uri="{FF2B5EF4-FFF2-40B4-BE49-F238E27FC236}">
                      <a16:creationId xmlns:a16="http://schemas.microsoft.com/office/drawing/2014/main" id="{94774D7E-7C79-4687-AEEA-C1A388F4CADE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87551" y="4690977"/>
                  <a:ext cx="8021" cy="3471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4" name="Группа 3"/>
            <p:cNvGrpSpPr/>
            <p:nvPr/>
          </p:nvGrpSpPr>
          <p:grpSpPr>
            <a:xfrm>
              <a:off x="1332388" y="3914667"/>
              <a:ext cx="5403104" cy="1780199"/>
              <a:chOff x="1441507" y="4099612"/>
              <a:chExt cx="5403104" cy="1780199"/>
            </a:xfrm>
          </p:grpSpPr>
          <p:sp>
            <p:nvSpPr>
              <p:cNvPr id="35" name="Стрелка: пятиугольник 7">
                <a:extLst>
                  <a:ext uri="{FF2B5EF4-FFF2-40B4-BE49-F238E27FC236}">
                    <a16:creationId xmlns:a16="http://schemas.microsoft.com/office/drawing/2014/main" id="{04D67ABB-12DA-4834-A86C-F4EC5C75F4F2}"/>
                  </a:ext>
                </a:extLst>
              </p:cNvPr>
              <p:cNvSpPr/>
              <p:nvPr/>
            </p:nvSpPr>
            <p:spPr>
              <a:xfrm>
                <a:off x="1441507" y="4099612"/>
                <a:ext cx="5403104" cy="1780199"/>
              </a:xfrm>
              <a:prstGeom prst="homePlate">
                <a:avLst>
                  <a:gd name="adj" fmla="val 37397"/>
                </a:avLst>
              </a:prstGeom>
              <a:pattFill prst="ltDnDiag">
                <a:fgClr>
                  <a:schemeClr val="bg1">
                    <a:lumMod val="9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x-none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id="{4E9C43F6-23BC-4D64-B0A9-D9B6F202C5C0}"/>
                  </a:ext>
                </a:extLst>
              </p:cNvPr>
              <p:cNvSpPr/>
              <p:nvPr/>
            </p:nvSpPr>
            <p:spPr>
              <a:xfrm>
                <a:off x="1503242" y="4134138"/>
                <a:ext cx="4803648" cy="16931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D7D31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с 1 декабря (в течение 40 дней)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принятие постановления о реализации закона о РБ (7 дней)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утверждение планов развития и бюджетных программ (АБП, МНЭ, МФ) (30 дней)</a:t>
                </a:r>
              </a:p>
              <a:p>
                <a:pPr marL="285750" marR="0" lvl="0" indent="-28575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 panose="020B0604020202020204" pitchFamily="34" charset="0"/>
                  <a:buChar char="›"/>
                  <a:tabLst/>
                  <a:defRPr/>
                </a:pP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утверждение операционных планов (АБП) </a:t>
                </a:r>
                <a:b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</a:br>
                <a:r>
                  <a:rPr kumimoji="0" lang="ru-RU" sz="1467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(10 дней)</a:t>
                </a:r>
              </a:p>
            </p:txBody>
          </p:sp>
          <p:sp>
            <p:nvSpPr>
              <p:cNvPr id="41" name="Умножение 40"/>
              <p:cNvSpPr/>
              <p:nvPr/>
            </p:nvSpPr>
            <p:spPr>
              <a:xfrm>
                <a:off x="5975818" y="4784832"/>
                <a:ext cx="465277" cy="399819"/>
              </a:xfrm>
              <a:prstGeom prst="mathMultiply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ru-RU" sz="1867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42" name="Умножение 41"/>
              <p:cNvSpPr/>
              <p:nvPr/>
            </p:nvSpPr>
            <p:spPr>
              <a:xfrm>
                <a:off x="2752463" y="5451914"/>
                <a:ext cx="470464" cy="386865"/>
              </a:xfrm>
              <a:prstGeom prst="mathMultiply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ru-RU" sz="1867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  <a:sym typeface="Arial"/>
                </a:endParaRPr>
              </a:p>
            </p:txBody>
          </p:sp>
        </p:grpSp>
        <p:sp>
          <p:nvSpPr>
            <p:cNvPr id="40" name="TextBox 39"/>
            <p:cNvSpPr txBox="1"/>
            <p:nvPr/>
          </p:nvSpPr>
          <p:spPr>
            <a:xfrm>
              <a:off x="-69102" y="6281678"/>
              <a:ext cx="7158644" cy="256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-228594" algn="l" defTabSz="16006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kk-KZ" sz="1067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Этап рассмотрения и утверждения проекта РБ в Парламенте РК не меняется</a:t>
              </a:r>
              <a:endPara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55688" y="87609"/>
              <a:ext cx="6100131" cy="4247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1218420" eaLnBrk="0" fontAlgn="base" hangingPunct="0">
                <a:lnSpc>
                  <a:spcPct val="90000"/>
                </a:lnSpc>
                <a:spcAft>
                  <a:spcPts val="272"/>
                </a:spcAft>
                <a:defRPr/>
              </a:pPr>
              <a:r>
                <a:rPr lang="ru-RU" sz="2400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1. УПРОЩЕНИЕ бюджетного процесса 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57989" y="1352750"/>
              <a:ext cx="1070273" cy="666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913295">
                <a:buClr>
                  <a:srgbClr val="000000"/>
                </a:buClr>
                <a:defRPr/>
              </a:pPr>
              <a:r>
                <a:rPr lang="ru-RU" b="1" kern="0" dirty="0">
                  <a:solidFill>
                    <a:srgbClr val="44546A">
                      <a:lumMod val="75000"/>
                    </a:srgbClr>
                  </a:solidFill>
                  <a:latin typeface="Lato Heavy"/>
                  <a:ea typeface="ＭＳ Ｐゴシック"/>
                  <a:cs typeface="Arial"/>
                  <a:sym typeface="Arial"/>
                </a:rPr>
                <a:t>первый этап</a:t>
              </a:r>
              <a:endParaRPr lang="en-GB" b="1" kern="0" dirty="0">
                <a:solidFill>
                  <a:srgbClr val="44546A">
                    <a:lumMod val="75000"/>
                  </a:srgbClr>
                </a:solidFill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57989" y="2739312"/>
              <a:ext cx="1070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913295">
                <a:buClr>
                  <a:srgbClr val="000000"/>
                </a:buClr>
                <a:defRPr/>
              </a:pPr>
              <a:r>
                <a:rPr lang="ru-RU" b="1" kern="0" dirty="0">
                  <a:solidFill>
                    <a:srgbClr val="44546A">
                      <a:lumMod val="75000"/>
                    </a:srgbClr>
                  </a:solidFill>
                  <a:latin typeface="Lato Heavy"/>
                  <a:ea typeface="ＭＳ Ｐゴシック"/>
                  <a:cs typeface="Arial"/>
                  <a:sym typeface="Arial"/>
                </a:rPr>
                <a:t>второй этап</a:t>
              </a:r>
              <a:endParaRPr lang="en-GB" b="1" kern="0" dirty="0">
                <a:solidFill>
                  <a:srgbClr val="44546A">
                    <a:lumMod val="75000"/>
                  </a:srgbClr>
                </a:solidFill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46960" y="4346987"/>
              <a:ext cx="1070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 defTabSz="913295">
                <a:buClr>
                  <a:srgbClr val="000000"/>
                </a:buClr>
                <a:defRPr/>
              </a:pPr>
              <a:r>
                <a:rPr lang="ru-RU" b="1" kern="0" dirty="0">
                  <a:solidFill>
                    <a:srgbClr val="44546A">
                      <a:lumMod val="75000"/>
                    </a:srgbClr>
                  </a:solidFill>
                  <a:latin typeface="Lato Heavy"/>
                  <a:ea typeface="ＭＳ Ｐゴシック"/>
                  <a:cs typeface="Arial"/>
                  <a:sym typeface="Arial"/>
                </a:rPr>
                <a:t>третий этап</a:t>
              </a:r>
              <a:endParaRPr lang="en-GB" b="1" kern="0" dirty="0">
                <a:solidFill>
                  <a:srgbClr val="44546A">
                    <a:lumMod val="75000"/>
                  </a:srgbClr>
                </a:solidFill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202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V="1">
            <a:off x="0" y="488951"/>
            <a:ext cx="12192000" cy="211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305551" y="5509806"/>
            <a:ext cx="4950883" cy="107721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C00000"/>
                </a:solidFill>
              </a:rPr>
              <a:t>Срочные мероприятия/проекты из поручений ГГ/ПМ ВНЕ СГП финансируются через: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rgbClr val="404040"/>
                </a:solidFill>
              </a:rPr>
              <a:t>Специальный государственный фонд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rgbClr val="404040"/>
                </a:solidFill>
              </a:rPr>
              <a:t>Резерв Президента/Правительства</a:t>
            </a:r>
          </a:p>
        </p:txBody>
      </p:sp>
      <p:sp>
        <p:nvSpPr>
          <p:cNvPr id="135172" name="TextBox 2"/>
          <p:cNvSpPr txBox="1">
            <a:spLocks noChangeArrowheads="1"/>
          </p:cNvSpPr>
          <p:nvPr/>
        </p:nvSpPr>
        <p:spPr bwMode="auto">
          <a:xfrm>
            <a:off x="723900" y="2368551"/>
            <a:ext cx="3439584" cy="1159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Планы развития ГО/регионов/СКГС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333" dirty="0"/>
              <a:t>Заключение уполномоченного органа по госпланированию на соответствие требованиям СГП (МНЭ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623255" y="2425886"/>
            <a:ext cx="3934884" cy="1138581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Бюджетные программы (АБП)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стабильные безусловные лимиты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–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оппотребность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=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>
                <a:solidFill>
                  <a:srgbClr val="C00000"/>
                </a:solidFill>
              </a:rPr>
              <a:t>отклонение от лимита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333" dirty="0"/>
              <a:t> 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целевой индикатор </a:t>
            </a: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–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конечный результат </a:t>
            </a: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=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altLang="ru-RU" sz="1333" b="1" dirty="0">
                <a:solidFill>
                  <a:srgbClr val="C00000"/>
                </a:solidFill>
              </a:rPr>
              <a:t>недофинансированная часть</a:t>
            </a:r>
          </a:p>
        </p:txBody>
      </p:sp>
      <p:sp>
        <p:nvSpPr>
          <p:cNvPr id="135174" name="TextBox 45"/>
          <p:cNvSpPr txBox="1">
            <a:spLocks noChangeArrowheads="1"/>
          </p:cNvSpPr>
          <p:nvPr/>
        </p:nvSpPr>
        <p:spPr bwMode="auto">
          <a:xfrm>
            <a:off x="8693152" y="2368551"/>
            <a:ext cx="2823633" cy="76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>
                <a:solidFill>
                  <a:srgbClr val="203864"/>
                </a:solidFill>
              </a:rPr>
              <a:t>Приоритезация (МФ, ГО):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/>
              <a:t>пула новых инициатив из плана развития, НПА</a:t>
            </a:r>
            <a:endParaRPr lang="ru-RU" altLang="ru-RU" sz="1467" b="1"/>
          </a:p>
        </p:txBody>
      </p:sp>
      <p:cxnSp>
        <p:nvCxnSpPr>
          <p:cNvPr id="2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15950" y="1493116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Минус 47"/>
          <p:cNvSpPr/>
          <p:nvPr/>
        </p:nvSpPr>
        <p:spPr>
          <a:xfrm>
            <a:off x="3600451" y="814105"/>
            <a:ext cx="711200" cy="567267"/>
          </a:xfrm>
          <a:prstGeom prst="mathMinus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Равно 49"/>
          <p:cNvSpPr/>
          <p:nvPr/>
        </p:nvSpPr>
        <p:spPr>
          <a:xfrm>
            <a:off x="7550151" y="779990"/>
            <a:ext cx="797984" cy="573617"/>
          </a:xfrm>
          <a:prstGeom prst="mathEqual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210759" y="5517659"/>
            <a:ext cx="5870512" cy="107721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i="1" dirty="0">
                <a:solidFill>
                  <a:srgbClr val="385723"/>
                </a:solidFill>
              </a:rPr>
              <a:t>Эффект: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увязка стратегического и бюджетного планирования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обоснованная приоритезация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прозрачный механизм</a:t>
            </a:r>
          </a:p>
        </p:txBody>
      </p:sp>
      <p:sp>
        <p:nvSpPr>
          <p:cNvPr id="36" name="Правая фигурная скобка 35"/>
          <p:cNvSpPr/>
          <p:nvPr/>
        </p:nvSpPr>
        <p:spPr>
          <a:xfrm rot="5400000">
            <a:off x="5886254" y="-455400"/>
            <a:ext cx="520669" cy="113258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5180" name="TextBox 43"/>
          <p:cNvSpPr txBox="1">
            <a:spLocks noChangeArrowheads="1"/>
          </p:cNvSpPr>
          <p:nvPr/>
        </p:nvSpPr>
        <p:spPr bwMode="auto">
          <a:xfrm>
            <a:off x="8676217" y="3615267"/>
            <a:ext cx="2859616" cy="1262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srgbClr val="C00000"/>
                </a:solidFill>
              </a:rPr>
              <a:t>Недофинансированная часть –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>
                <a:solidFill>
                  <a:srgbClr val="203864"/>
                </a:solidFill>
              </a:rPr>
              <a:t>предмет рассмотрения на корректировках/уточнениях бюджета</a:t>
            </a:r>
          </a:p>
        </p:txBody>
      </p:sp>
      <p:sp>
        <p:nvSpPr>
          <p:cNvPr id="135181" name="TextBox 18"/>
          <p:cNvSpPr txBox="1">
            <a:spLocks noChangeArrowheads="1"/>
          </p:cNvSpPr>
          <p:nvPr/>
        </p:nvSpPr>
        <p:spPr bwMode="auto">
          <a:xfrm>
            <a:off x="632884" y="603045"/>
            <a:ext cx="244898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chemeClr val="accent1">
                    <a:lumMod val="75000"/>
                  </a:schemeClr>
                </a:solidFill>
              </a:rPr>
              <a:t>Стратегическое и экономическое планирование</a:t>
            </a:r>
          </a:p>
        </p:txBody>
      </p:sp>
      <p:sp>
        <p:nvSpPr>
          <p:cNvPr id="135182" name="TextBox 21"/>
          <p:cNvSpPr txBox="1">
            <a:spLocks noChangeArrowheads="1"/>
          </p:cNvSpPr>
          <p:nvPr/>
        </p:nvSpPr>
        <p:spPr bwMode="auto">
          <a:xfrm>
            <a:off x="4565650" y="748468"/>
            <a:ext cx="2125133" cy="584775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chemeClr val="accent1">
                    <a:lumMod val="75000"/>
                  </a:schemeClr>
                </a:solidFill>
              </a:rPr>
              <a:t>Бюджетное планирование</a:t>
            </a:r>
          </a:p>
        </p:txBody>
      </p:sp>
      <p:sp>
        <p:nvSpPr>
          <p:cNvPr id="135183" name="TextBox 22"/>
          <p:cNvSpPr txBox="1">
            <a:spLocks noChangeArrowheads="1"/>
          </p:cNvSpPr>
          <p:nvPr/>
        </p:nvSpPr>
        <p:spPr bwMode="auto">
          <a:xfrm>
            <a:off x="4660900" y="1562101"/>
            <a:ext cx="2829984" cy="70807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>
                <a:solidFill>
                  <a:srgbClr val="203864"/>
                </a:solidFill>
              </a:rPr>
              <a:t>Ежегодный ПСЭР </a:t>
            </a:r>
            <a:br>
              <a:rPr lang="ru-RU" altLang="ru-RU" sz="1467" b="1">
                <a:solidFill>
                  <a:srgbClr val="203864"/>
                </a:solidFill>
              </a:rPr>
            </a:br>
            <a:r>
              <a:rPr lang="ru-RU" altLang="ru-RU" sz="1467" b="1">
                <a:solidFill>
                  <a:srgbClr val="203864"/>
                </a:solidFill>
              </a:rPr>
              <a:t>на плановый период (МНЭ) </a:t>
            </a:r>
            <a:r>
              <a:rPr lang="ru-RU" altLang="ru-RU" sz="1067" i="1"/>
              <a:t>(упрощенный)</a:t>
            </a:r>
          </a:p>
        </p:txBody>
      </p:sp>
      <p:sp>
        <p:nvSpPr>
          <p:cNvPr id="135184" name="Прямоугольник 10"/>
          <p:cNvSpPr>
            <a:spLocks noChangeArrowheads="1"/>
          </p:cNvSpPr>
          <p:nvPr/>
        </p:nvSpPr>
        <p:spPr bwMode="auto">
          <a:xfrm>
            <a:off x="723900" y="3659718"/>
            <a:ext cx="3937000" cy="142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Проект бюджета (РБК) 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верка </a:t>
            </a:r>
            <a:r>
              <a:rPr lang="ru-RU" alt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сходов по безусловным базовым расходам на соответствие лимиту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пределение лимита по: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овым инициативам </a:t>
            </a:r>
            <a:r>
              <a:rPr lang="ru-RU" altLang="ru-RU" sz="1067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НПА, рассмотренные на РБК )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цпроектам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зервам и др.</a:t>
            </a:r>
          </a:p>
        </p:txBody>
      </p:sp>
      <p:sp>
        <p:nvSpPr>
          <p:cNvPr id="135185" name="TextBox 26"/>
          <p:cNvSpPr txBox="1">
            <a:spLocks noChangeArrowheads="1"/>
          </p:cNvSpPr>
          <p:nvPr/>
        </p:nvSpPr>
        <p:spPr bwMode="auto">
          <a:xfrm>
            <a:off x="8676217" y="592364"/>
            <a:ext cx="268181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C00000"/>
                </a:solidFill>
              </a:rPr>
              <a:t>Отклонение от стратегического планирования</a:t>
            </a:r>
          </a:p>
        </p:txBody>
      </p:sp>
      <p:sp>
        <p:nvSpPr>
          <p:cNvPr id="135186" name="TextBox 27"/>
          <p:cNvSpPr txBox="1">
            <a:spLocks noChangeArrowheads="1"/>
          </p:cNvSpPr>
          <p:nvPr/>
        </p:nvSpPr>
        <p:spPr bwMode="auto">
          <a:xfrm>
            <a:off x="8676218" y="1559985"/>
            <a:ext cx="3079749" cy="708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Отклонение в прогнозных параметрах (МНЭ)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67" dirty="0">
                <a:solidFill>
                  <a:srgbClr val="C00000"/>
                </a:solidFill>
              </a:rPr>
              <a:t>(причина описывается в ПСЭР)</a:t>
            </a:r>
          </a:p>
        </p:txBody>
      </p:sp>
      <p:sp>
        <p:nvSpPr>
          <p:cNvPr id="135187" name="Прямоугольник 11"/>
          <p:cNvSpPr>
            <a:spLocks noChangeArrowheads="1"/>
          </p:cNvSpPr>
          <p:nvPr/>
        </p:nvSpPr>
        <p:spPr bwMode="auto">
          <a:xfrm>
            <a:off x="4690534" y="3674533"/>
            <a:ext cx="2859617" cy="76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Заключение и перечень не поддержанных расходов на сумму отклонения (МФ)</a:t>
            </a:r>
          </a:p>
        </p:txBody>
      </p:sp>
      <p:cxnSp>
        <p:nvCxnSpPr>
          <p:cNvPr id="29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32884" y="2347384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190" name="TextBox 14"/>
          <p:cNvSpPr txBox="1">
            <a:spLocks noChangeArrowheads="1"/>
          </p:cNvSpPr>
          <p:nvPr/>
        </p:nvSpPr>
        <p:spPr bwMode="auto">
          <a:xfrm>
            <a:off x="243417" y="1437218"/>
            <a:ext cx="48048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A6A6A6"/>
                </a:solidFill>
              </a:rPr>
              <a:t>1</a:t>
            </a:r>
          </a:p>
        </p:txBody>
      </p:sp>
      <p:sp>
        <p:nvSpPr>
          <p:cNvPr id="135191" name="TextBox 33"/>
          <p:cNvSpPr txBox="1">
            <a:spLocks noChangeArrowheads="1"/>
          </p:cNvSpPr>
          <p:nvPr/>
        </p:nvSpPr>
        <p:spPr bwMode="auto">
          <a:xfrm>
            <a:off x="232834" y="2546351"/>
            <a:ext cx="48048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A6A6A6"/>
                </a:solidFill>
              </a:rPr>
              <a:t>2</a:t>
            </a:r>
          </a:p>
        </p:txBody>
      </p:sp>
      <p:sp>
        <p:nvSpPr>
          <p:cNvPr id="135192" name="TextBox 34"/>
          <p:cNvSpPr txBox="1">
            <a:spLocks noChangeArrowheads="1"/>
          </p:cNvSpPr>
          <p:nvPr/>
        </p:nvSpPr>
        <p:spPr bwMode="auto">
          <a:xfrm>
            <a:off x="243417" y="3710518"/>
            <a:ext cx="48048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A6A6A6"/>
                </a:solidFill>
              </a:rPr>
              <a:t>3</a:t>
            </a:r>
          </a:p>
        </p:txBody>
      </p:sp>
      <p:sp>
        <p:nvSpPr>
          <p:cNvPr id="135193" name="TextBox 3"/>
          <p:cNvSpPr txBox="1">
            <a:spLocks noChangeArrowheads="1"/>
          </p:cNvSpPr>
          <p:nvPr/>
        </p:nvSpPr>
        <p:spPr bwMode="auto">
          <a:xfrm>
            <a:off x="713318" y="1532467"/>
            <a:ext cx="2912533" cy="543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>
                <a:solidFill>
                  <a:srgbClr val="203864"/>
                </a:solidFill>
              </a:rPr>
              <a:t>Долгосрочный прогноз развития РК на 10 лет (МНЭ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" y="15642"/>
            <a:ext cx="11256433" cy="461665"/>
          </a:xfrm>
          <a:prstGeom prst="rect">
            <a:avLst/>
          </a:prstGeom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kk-KZ" altLang="ru-RU" sz="2400" b="1" dirty="0">
                <a:solidFill>
                  <a:srgbClr val="4F81BD">
                    <a:lumMod val="50000"/>
                  </a:srgbClr>
                </a:solidFill>
                <a:ea typeface="Arial"/>
              </a:rPr>
              <a:t>СХЕМА</a:t>
            </a:r>
            <a:r>
              <a:rPr lang="ru-RU" altLang="ru-RU" sz="2400" b="1" dirty="0">
                <a:solidFill>
                  <a:srgbClr val="4F81BD">
                    <a:lumMod val="50000"/>
                  </a:srgbClr>
                </a:solidFill>
                <a:ea typeface="Arial"/>
              </a:rPr>
              <a:t> ПЛАНИРОВАНИЯ </a:t>
            </a:r>
            <a:r>
              <a:rPr lang="kk-KZ" altLang="ru-RU" sz="2400" b="1" dirty="0">
                <a:solidFill>
                  <a:srgbClr val="4F81BD">
                    <a:lumMod val="50000"/>
                  </a:srgbClr>
                </a:solidFill>
                <a:ea typeface="Arial"/>
              </a:rPr>
              <a:t>с учетом предлагаемых подходов </a:t>
            </a:r>
            <a:r>
              <a:rPr lang="ru-RU" altLang="ru-RU" sz="2400" dirty="0">
                <a:solidFill>
                  <a:srgbClr val="4F81BD">
                    <a:lumMod val="50000"/>
                  </a:srgbClr>
                </a:solidFill>
                <a:ea typeface="Arial"/>
              </a:rPr>
              <a:t>- резюме</a:t>
            </a:r>
          </a:p>
        </p:txBody>
      </p:sp>
      <p:cxnSp>
        <p:nvCxnSpPr>
          <p:cNvPr id="27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15950" y="3601280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8680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120496" y="578617"/>
            <a:ext cx="11921265" cy="5849268"/>
            <a:chOff x="120496" y="683869"/>
            <a:chExt cx="11921265" cy="5849268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CA680DD2-CE17-9E9A-B5C1-1F2EF1A76925}"/>
                </a:ext>
              </a:extLst>
            </p:cNvPr>
            <p:cNvSpPr/>
            <p:nvPr/>
          </p:nvSpPr>
          <p:spPr>
            <a:xfrm>
              <a:off x="120496" y="683869"/>
              <a:ext cx="11921265" cy="451100"/>
            </a:xfrm>
            <a:prstGeom prst="rect">
              <a:avLst/>
            </a:prstGeom>
          </p:spPr>
          <p:txBody>
            <a:bodyPr wrap="square" lIns="121681" tIns="60840" rIns="121681" bIns="60840">
              <a:spAutoFit/>
            </a:bodyPr>
            <a:lstStyle/>
            <a:p>
              <a:pPr algn="ctr" defTabSz="1199033">
                <a:defRPr/>
              </a:pPr>
              <a:r>
                <a:rPr lang="ru-RU" sz="2133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ДОТЧЕТНОСТЬ реализуется</a:t>
              </a: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365760" y="1279825"/>
              <a:ext cx="5019040" cy="99520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sz="2133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полномоченными органами</a:t>
              </a:r>
            </a:p>
            <a:p>
              <a:pPr algn="ctr" defTabSz="1199243">
                <a:defRPr/>
              </a:pPr>
              <a:r>
                <a:rPr lang="ru-RU" sz="1867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ru-RU" sz="18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9529A3F5-C068-EC37-8B7D-5FE5E8E7156A}"/>
                </a:ext>
              </a:extLst>
            </p:cNvPr>
            <p:cNvSpPr/>
            <p:nvPr/>
          </p:nvSpPr>
          <p:spPr>
            <a:xfrm>
              <a:off x="6662918" y="1279825"/>
              <a:ext cx="5184487" cy="99520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sz="2133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частниками бюджетного процесса</a:t>
              </a:r>
            </a:p>
            <a:p>
              <a:pPr algn="ctr" defTabSz="1199243">
                <a:defRPr/>
              </a:pPr>
              <a:endParaRPr lang="ru-RU" sz="18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620D80C-11DF-1CB8-09C0-47FFD9883358}"/>
                </a:ext>
              </a:extLst>
            </p:cNvPr>
            <p:cNvSpPr txBox="1"/>
            <p:nvPr/>
          </p:nvSpPr>
          <p:spPr>
            <a:xfrm>
              <a:off x="1847243" y="3020736"/>
              <a:ext cx="3571032" cy="615311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</a:lstStyle>
            <a:p>
              <a:pPr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0" dirty="0">
                  <a:solidFill>
                    <a:prstClr val="black"/>
                  </a:solidFill>
                  <a:cs typeface="Arial" panose="020B0604020202020204" pitchFamily="34" charset="0"/>
                  <a:sym typeface="Arial"/>
                </a:rPr>
                <a:t>разработка и публикация </a:t>
              </a:r>
              <a:r>
                <a:rPr lang="ru-RU" sz="16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Arial"/>
                </a:rPr>
                <a:t>гражданского бюджета 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9AF0DD2-27A2-2FE4-D5F1-B14E14F0078A}"/>
                </a:ext>
              </a:extLst>
            </p:cNvPr>
            <p:cNvSpPr txBox="1"/>
            <p:nvPr/>
          </p:nvSpPr>
          <p:spPr>
            <a:xfrm>
              <a:off x="8276372" y="2755874"/>
              <a:ext cx="3571032" cy="1107753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</a:lstStyle>
            <a:p>
              <a:pPr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Arial"/>
                </a:rPr>
                <a:t>заслушивание</a:t>
              </a:r>
              <a:r>
                <a:rPr lang="ru-RU" sz="1600" b="0" dirty="0">
                  <a:solidFill>
                    <a:prstClr val="black"/>
                  </a:solidFill>
                  <a:cs typeface="Arial" panose="020B0604020202020204" pitchFamily="34" charset="0"/>
                  <a:sym typeface="Arial"/>
                </a:rPr>
                <a:t> госорганов в представительных органах при защите проекта РБ и отчета об его исполнении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B0B4696-6178-634A-F6F1-1BD2D3DFD1A0}"/>
                </a:ext>
              </a:extLst>
            </p:cNvPr>
            <p:cNvSpPr txBox="1"/>
            <p:nvPr/>
          </p:nvSpPr>
          <p:spPr>
            <a:xfrm>
              <a:off x="8276372" y="5716644"/>
              <a:ext cx="3571032" cy="615311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</a:lstStyle>
            <a:p>
              <a:pPr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Arial"/>
                </a:rPr>
                <a:t>ответственность </a:t>
              </a:r>
              <a:r>
                <a:rPr lang="ru-RU" sz="1600" b="0" dirty="0">
                  <a:solidFill>
                    <a:prstClr val="black"/>
                  </a:solidFill>
                  <a:cs typeface="Arial" panose="020B0604020202020204" pitchFamily="34" charset="0"/>
                  <a:sym typeface="Arial"/>
                </a:rPr>
                <a:t>за нарушение бюджетного законодательства</a:t>
              </a:r>
              <a:endParaRPr lang="ru-RU" sz="16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80DA5F0-5FCF-97C5-A29E-A502D8895207}"/>
                </a:ext>
              </a:extLst>
            </p:cNvPr>
            <p:cNvSpPr txBox="1"/>
            <p:nvPr/>
          </p:nvSpPr>
          <p:spPr>
            <a:xfrm>
              <a:off x="8276372" y="4586965"/>
              <a:ext cx="3571032" cy="615311"/>
            </a:xfrm>
            <a:prstGeom prst="rect">
              <a:avLst/>
            </a:prstGeom>
            <a:solidFill>
              <a:schemeClr val="bg2"/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algn="ctr">
                <a:defRPr sz="1200" b="1">
                  <a:solidFill>
                    <a:schemeClr val="tx2"/>
                  </a:solidFill>
                  <a:latin typeface="Arial" panose="020B0604020202020204" pitchFamily="34" charset="0"/>
                </a:defRPr>
              </a:lvl1pPr>
            </a:lstStyle>
            <a:p>
              <a:pPr defTabSz="1219170">
                <a:buClr>
                  <a:srgbClr val="000000"/>
                </a:buClr>
              </a:pPr>
              <a:r>
                <a:rPr lang="ru-RU" sz="1600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  <a:sym typeface="Arial"/>
                </a:rPr>
                <a:t>публикация и обсуждение </a:t>
              </a:r>
              <a:r>
                <a:rPr lang="ru-RU" sz="1600" b="0" dirty="0">
                  <a:solidFill>
                    <a:prstClr val="black"/>
                  </a:solidFill>
                  <a:cs typeface="Arial" panose="020B0604020202020204" pitchFamily="34" charset="0"/>
                  <a:sym typeface="Arial"/>
                </a:rPr>
                <a:t>бюджетных документов</a:t>
              </a: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1074875" y="2297648"/>
              <a:ext cx="746781" cy="1030744"/>
              <a:chOff x="1074875" y="2297648"/>
              <a:chExt cx="746781" cy="1030744"/>
            </a:xfrm>
          </p:grpSpPr>
          <p:cxnSp>
            <p:nvCxnSpPr>
              <p:cNvPr id="8" name="Прямая со стрелкой 7">
                <a:extLst>
                  <a:ext uri="{FF2B5EF4-FFF2-40B4-BE49-F238E27FC236}">
                    <a16:creationId xmlns:a16="http://schemas.microsoft.com/office/drawing/2014/main" id="{14F22AA1-2309-B3E4-7898-82058730B1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4875" y="3328392"/>
                <a:ext cx="746781" cy="0"/>
              </a:xfrm>
              <a:prstGeom prst="straightConnector1">
                <a:avLst/>
              </a:prstGeom>
              <a:ln cmpd="thickThin">
                <a:solidFill>
                  <a:srgbClr val="5B9BD5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id="{E4B6D9E7-6F6F-6E34-DCF4-3D011A15F99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4875" y="2297648"/>
                <a:ext cx="0" cy="103074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Группа 4"/>
            <p:cNvGrpSpPr/>
            <p:nvPr/>
          </p:nvGrpSpPr>
          <p:grpSpPr>
            <a:xfrm>
              <a:off x="7498500" y="2297649"/>
              <a:ext cx="772368" cy="3767704"/>
              <a:chOff x="7498500" y="2297649"/>
              <a:chExt cx="772368" cy="3767704"/>
            </a:xfrm>
          </p:grpSpPr>
          <p:cxnSp>
            <p:nvCxnSpPr>
              <p:cNvPr id="29" name="Прямая соединительная линия 28">
                <a:extLst>
                  <a:ext uri="{FF2B5EF4-FFF2-40B4-BE49-F238E27FC236}">
                    <a16:creationId xmlns:a16="http://schemas.microsoft.com/office/drawing/2014/main" id="{75EA09FF-9B04-B3DC-B8C5-0075BBEAFF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8500" y="2297649"/>
                <a:ext cx="0" cy="376770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 стрелкой 31">
                <a:extLst>
                  <a:ext uri="{FF2B5EF4-FFF2-40B4-BE49-F238E27FC236}">
                    <a16:creationId xmlns:a16="http://schemas.microsoft.com/office/drawing/2014/main" id="{5AF15D79-5E07-701F-DA11-9D61526C8D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8500" y="3366898"/>
                <a:ext cx="772368" cy="1"/>
              </a:xfrm>
              <a:prstGeom prst="straightConnector1">
                <a:avLst/>
              </a:prstGeom>
              <a:ln cmpd="thickThin">
                <a:solidFill>
                  <a:srgbClr val="5B9BD5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 стрелкой 32">
                <a:extLst>
                  <a:ext uri="{FF2B5EF4-FFF2-40B4-BE49-F238E27FC236}">
                    <a16:creationId xmlns:a16="http://schemas.microsoft.com/office/drawing/2014/main" id="{A1ABD095-5577-585D-8923-B9F5E5CFB6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8500" y="4885497"/>
                <a:ext cx="772368" cy="1"/>
              </a:xfrm>
              <a:prstGeom prst="straightConnector1">
                <a:avLst/>
              </a:prstGeom>
              <a:ln cmpd="thickThin">
                <a:solidFill>
                  <a:srgbClr val="5B9BD5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 стрелкой 33">
                <a:extLst>
                  <a:ext uri="{FF2B5EF4-FFF2-40B4-BE49-F238E27FC236}">
                    <a16:creationId xmlns:a16="http://schemas.microsoft.com/office/drawing/2014/main" id="{254E3D6E-E2B1-7E5E-4CCA-14BFDF3082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8500" y="6065352"/>
                <a:ext cx="772368" cy="1"/>
              </a:xfrm>
              <a:prstGeom prst="straightConnector1">
                <a:avLst/>
              </a:prstGeom>
              <a:ln cmpd="thickThin">
                <a:solidFill>
                  <a:srgbClr val="5B9BD5"/>
                </a:solidFill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8E2E223-4ED0-5E1B-48B9-8DF9AC040D9A}"/>
                </a:ext>
              </a:extLst>
            </p:cNvPr>
            <p:cNvSpPr txBox="1"/>
            <p:nvPr/>
          </p:nvSpPr>
          <p:spPr>
            <a:xfrm>
              <a:off x="260291" y="4030258"/>
              <a:ext cx="6402627" cy="2502879"/>
            </a:xfrm>
            <a:prstGeom prst="rect">
              <a:avLst/>
            </a:prstGeom>
            <a:noFill/>
          </p:spPr>
          <p:txBody>
            <a:bodyPr wrap="square" lIns="121681" tIns="60840" rIns="121681" bIns="60840" rtlCol="0">
              <a:spAutoFit/>
            </a:bodyPr>
            <a:lstStyle/>
            <a:p>
              <a:pPr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867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длежат публикации в СМИ, на интернет-ресурсах и портале «открытые бюджета»: </a:t>
              </a:r>
            </a:p>
            <a:p>
              <a:pPr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228594" indent="-228594" defTabSz="919716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окументы уполномоченных органов</a:t>
              </a:r>
              <a:r>
                <a:rPr lang="ru-RU" sz="1333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333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– </a:t>
              </a:r>
              <a:r>
                <a:rPr lang="ru-RU" sz="1333" i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СЭР, аналитические отчеты, обзор расходов, проект бюджета, отчет об исполнении бюджета, результаты мониторинга, различные отчеты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endParaRPr lang="ru-RU" sz="1333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228594" indent="-228594" defTabSz="919716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окументы госорганов </a:t>
              </a:r>
              <a:r>
                <a:rPr lang="ru-RU" sz="1333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– </a:t>
              </a:r>
              <a:r>
                <a:rPr lang="ru-RU" sz="1333" i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ланы развития, результаты отчетности, мониторинга по их реализации и оценки, бюджетные программы и отчеты об их исполнении, различные отчетности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–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транспарентность и подотчетность</a:t>
            </a:r>
          </a:p>
        </p:txBody>
      </p:sp>
    </p:spTree>
    <p:extLst>
      <p:ext uri="{BB962C8B-B14F-4D97-AF65-F5344CB8AC3E}">
        <p14:creationId xmlns:p14="http://schemas.microsoft.com/office/powerpoint/2010/main" val="51840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26271" y="1198214"/>
            <a:ext cx="11817684" cy="5375265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600" b="1" dirty="0">
                <a:solidFill>
                  <a:srgbClr val="1F4E79"/>
                </a:solidFill>
              </a:rPr>
              <a:t>ПРЕДЛАГАЕТСЯ:</a:t>
            </a: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endParaRPr lang="ru-RU" altLang="ru-RU" sz="1600" b="1" dirty="0">
              <a:solidFill>
                <a:srgbClr val="1F4E79"/>
              </a:solidFill>
            </a:endParaRP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КОМПЛЕКС МЕРОПРИЯТИЙ, связанных с формированием и расходованием бюджетных средств, в том числе:</a:t>
            </a: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endParaRPr lang="ru-RU" altLang="ru-RU" sz="1333" b="1" dirty="0">
              <a:solidFill>
                <a:srgbClr val="1F4E79"/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пределение направлений бюджетной политики, включая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истему бюджетных правил</a:t>
            </a:r>
            <a:endParaRPr lang="ru-RU" altLang="ru-RU" sz="1467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формирование консолидированной информации по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олговым обязательствам сектора госуправления</a:t>
            </a:r>
            <a:endParaRPr lang="ru-RU" altLang="ru-RU" sz="1467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звитие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ной системы</a:t>
            </a:r>
            <a:endParaRPr lang="ru-RU" altLang="ru-RU" sz="1467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формирование и использование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ционального фонда</a:t>
            </a:r>
            <a:endParaRPr lang="ru-RU" altLang="ru-RU" sz="1467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онсолидация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небюджетных фондов</a:t>
            </a:r>
            <a:endParaRPr lang="ru-RU" altLang="ru-RU" sz="1467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ддержание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акроэкономической стабильности и устойчивости госфинансов 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333" dirty="0"/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РАЗГРАНИЧЕНИЕ деятельности уполномоченных органов в управлении госфинансами: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endParaRPr lang="ru-RU" altLang="ru-RU" sz="1333" dirty="0"/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НЭ: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ординация деятельности госорганов 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управлению госфинансами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ормирование долгосрочного прогноза развития РК 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 установление </a:t>
            </a: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елов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о бюджетным правилам, оценка состояния, контроль за соблюдением бюджетных правил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333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Ф совместно с госорганами и Национальным Банком:</a:t>
            </a:r>
            <a:endParaRPr lang="ru-RU" altLang="ru-RU" sz="1333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ониторинг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остояния госфинансов 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убликация</a:t>
            </a:r>
            <a:r>
              <a:rPr lang="ru-RU" altLang="ru-RU" sz="1333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ведений о состоянии госфинансов в форме статистической информации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endParaRPr lang="ru-RU" altLang="ru-RU" sz="1333" dirty="0"/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67" b="1" dirty="0">
                <a:solidFill>
                  <a:srgbClr val="1F4E79"/>
                </a:solidFill>
              </a:rPr>
              <a:t>Отражение</a:t>
            </a:r>
            <a:r>
              <a:rPr lang="ru-RU" altLang="ru-RU" sz="1467" dirty="0"/>
              <a:t>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составе госфинансов отношений между органами </a:t>
            </a: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госуправления и Национальным фондом, внебюджетными фондами и субъектами квазигосударственного сектор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108354" y="67485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–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управление госфинансам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26271" y="677967"/>
            <a:ext cx="1173945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ЕСПЕЧЕНИЕ полноценной информации о состоянии госфинансов 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0362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69961F-786C-C266-8591-AF67468C02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18" y="678742"/>
            <a:ext cx="3086366" cy="241483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5FC9864F-46CB-A700-1A01-9B1BD0D26A34}"/>
              </a:ext>
            </a:extLst>
          </p:cNvPr>
          <p:cNvSpPr txBox="1"/>
          <p:nvPr/>
        </p:nvSpPr>
        <p:spPr>
          <a:xfrm>
            <a:off x="44518" y="21294"/>
            <a:ext cx="10359322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40" fontAlgn="base">
              <a:spcBef>
                <a:spcPct val="20000"/>
              </a:spcBef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ОСЛАНИЯ Главы государства народу Казахстан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96705" y="-228305"/>
            <a:ext cx="8219440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333" i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".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3175402" y="524060"/>
            <a:ext cx="8856309" cy="6059172"/>
            <a:chOff x="3171546" y="550896"/>
            <a:chExt cx="8856309" cy="6059172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753F0E6F-8FB8-438D-7187-D30CF17CAA2B}"/>
                </a:ext>
              </a:extLst>
            </p:cNvPr>
            <p:cNvSpPr/>
            <p:nvPr/>
          </p:nvSpPr>
          <p:spPr>
            <a:xfrm>
              <a:off x="3171547" y="1981990"/>
              <a:ext cx="8758382" cy="7076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4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Предстоит выработать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новую бюджетную политику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, бережливую и ответственную. Финансировать следует только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приоритетные направления и проекты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. Нужно разработать свод ключевых бюджетных коэффициентов и правил.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467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A4EE51DB-EE26-6DA5-1501-3DD2076F2251}"/>
                </a:ext>
              </a:extLst>
            </p:cNvPr>
            <p:cNvSpPr/>
            <p:nvPr/>
          </p:nvSpPr>
          <p:spPr>
            <a:xfrm>
              <a:off x="3171546" y="2846906"/>
              <a:ext cx="8856309" cy="18564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Для восстановления активов Национального фонда следует ускорить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внедрение бюджетного правила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. Соответствующие законодательные поправки должны быть приняты до конца нынешнего года.</a:t>
              </a:r>
            </a:p>
            <a:p>
              <a:pPr algn="just" defTabSz="1219170" fontAlgn="base">
                <a:defRPr/>
              </a:pP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В целом стране необходим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свод правил по управлению государственными финансами: госдолгом, бюджетной политикой, Нацфондом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. Прошу Правительство и Национальный банк до конца года подготовить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Концепцию управления государственными финансами.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333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  <a:p>
              <a:pPr algn="just" defTabSz="1219170" fontAlgn="base">
                <a:defRPr/>
              </a:pPr>
              <a:endParaRPr lang="ru-RU" sz="800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  <a:p>
              <a:pPr algn="just" defTabSz="121917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Предстоит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упростить бюджетные процессы, 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кардинально снизить бюрократию в этом вопросе, расширить применение цифровых инструментов планирования и исполнения бюджета.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333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FB6EEF3F-5AD6-22D0-15AD-4C909A9FC102}"/>
                </a:ext>
              </a:extLst>
            </p:cNvPr>
            <p:cNvSpPr/>
            <p:nvPr/>
          </p:nvSpPr>
          <p:spPr>
            <a:xfrm>
              <a:off x="6668141" y="550896"/>
              <a:ext cx="8386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19 год</a:t>
              </a:r>
              <a:endParaRPr lang="ru-RU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457F9205-0827-CD84-AB6F-D6D9FD05A68A}"/>
                </a:ext>
              </a:extLst>
            </p:cNvPr>
            <p:cNvSpPr/>
            <p:nvPr/>
          </p:nvSpPr>
          <p:spPr>
            <a:xfrm>
              <a:off x="5732088" y="2672097"/>
              <a:ext cx="18473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endParaRPr lang="ru-RU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997EDAD9-B820-9084-8CC8-96D8C651489C}"/>
                </a:ext>
              </a:extLst>
            </p:cNvPr>
            <p:cNvSpPr/>
            <p:nvPr/>
          </p:nvSpPr>
          <p:spPr>
            <a:xfrm>
              <a:off x="3171547" y="4908161"/>
              <a:ext cx="8856308" cy="9128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Модель бюджетной политики будет реформирована путем перехода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от «управления бюджетом» 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/>
              </a:r>
              <a:b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</a:b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к «управлению результатами.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333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  <a:p>
              <a:pPr algn="just" defTabSz="121917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Для эффективной реализации обозначенных подходов необходимо принять </a:t>
              </a:r>
              <a:b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</a:b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новый Бюджетный кодекс.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333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7081542D-19E9-52EC-5AC0-1C3ACAEB9D08}"/>
                </a:ext>
              </a:extLst>
            </p:cNvPr>
            <p:cNvSpPr/>
            <p:nvPr/>
          </p:nvSpPr>
          <p:spPr>
            <a:xfrm>
              <a:off x="6719506" y="5666815"/>
              <a:ext cx="8386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3 год</a:t>
              </a:r>
              <a:endParaRPr lang="ru-RU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FB6EEF3F-5AD6-22D0-15AD-4C909A9FC102}"/>
                </a:ext>
              </a:extLst>
            </p:cNvPr>
            <p:cNvSpPr/>
            <p:nvPr/>
          </p:nvSpPr>
          <p:spPr>
            <a:xfrm>
              <a:off x="6719506" y="1720651"/>
              <a:ext cx="8386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0 год</a:t>
              </a:r>
              <a:endParaRPr lang="ru-RU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753F0E6F-8FB8-438D-7187-D30CF17CAA2B}"/>
                </a:ext>
              </a:extLst>
            </p:cNvPr>
            <p:cNvSpPr/>
            <p:nvPr/>
          </p:nvSpPr>
          <p:spPr>
            <a:xfrm>
              <a:off x="3171546" y="800495"/>
              <a:ext cx="8856309" cy="11179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4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Сильный Президент – влиятельный Парламент – подотчетное Правительство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". </a:t>
              </a:r>
            </a:p>
            <a:p>
              <a:pPr algn="just" defTabSz="1219140" fontAlgn="base">
                <a:defRPr/>
              </a:pP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Наша общая задача – воплотить в жизнь концепцию "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Слышащего государства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", которое оперативно и эффективно реагирует на все конструктивные запросы граждан. Только путем постоянного диалога власти и общества можно построить гармоничное государство, встроенное в контекст современной геополитики</a:t>
              </a: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997EDAD9-B820-9084-8CC8-96D8C651489C}"/>
                </a:ext>
              </a:extLst>
            </p:cNvPr>
            <p:cNvSpPr/>
            <p:nvPr/>
          </p:nvSpPr>
          <p:spPr>
            <a:xfrm>
              <a:off x="3171546" y="5902374"/>
              <a:ext cx="8758382" cy="7076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…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новый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Бюджетный кодекс 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должен повысить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открытость, ответственность 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/>
              </a:r>
              <a:b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</a:b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и самостоятельность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участников бюджетного процесса и что необходимо постоянно искать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новые инструменты и возможности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для дальнейшего повышения </a:t>
              </a:r>
              <a:r>
                <a:rPr lang="ru-RU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эффективности </a:t>
              </a:r>
              <a:r>
                <a:rPr lang="ru-RU" sz="1333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бюджетной политики</a:t>
              </a:r>
              <a:r>
                <a:rPr lang="en-US" sz="1333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”</a:t>
              </a:r>
              <a:endParaRPr lang="ru-RU" sz="1333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7081542D-19E9-52EC-5AC0-1C3ACAEB9D08}"/>
                </a:ext>
              </a:extLst>
            </p:cNvPr>
            <p:cNvSpPr/>
            <p:nvPr/>
          </p:nvSpPr>
          <p:spPr>
            <a:xfrm>
              <a:off x="6719506" y="4710576"/>
              <a:ext cx="8386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2 год</a:t>
              </a:r>
              <a:endParaRPr lang="ru-RU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6719506" y="2646987"/>
              <a:ext cx="838691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1 год</a:t>
              </a:r>
              <a:endParaRPr lang="ru-RU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903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197" name="Прямоугольник 27"/>
          <p:cNvSpPr>
            <a:spLocks noChangeArrowheads="1"/>
          </p:cNvSpPr>
          <p:nvPr/>
        </p:nvSpPr>
        <p:spPr bwMode="auto">
          <a:xfrm>
            <a:off x="295970" y="5854888"/>
            <a:ext cx="5024967" cy="297454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>
            <a:lvl1pPr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333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гноз социально-экономического развития </a:t>
            </a:r>
          </a:p>
        </p:txBody>
      </p:sp>
      <p:grpSp>
        <p:nvGrpSpPr>
          <p:cNvPr id="136198" name="Группа 12"/>
          <p:cNvGrpSpPr>
            <a:grpSpLocks/>
          </p:cNvGrpSpPr>
          <p:nvPr/>
        </p:nvGrpSpPr>
        <p:grpSpPr bwMode="auto">
          <a:xfrm>
            <a:off x="190500" y="662023"/>
            <a:ext cx="11811000" cy="5614918"/>
            <a:chOff x="102338" y="442881"/>
            <a:chExt cx="8859491" cy="4211997"/>
          </a:xfrm>
        </p:grpSpPr>
        <p:sp>
          <p:nvSpPr>
            <p:cNvPr id="136200" name="TextBox 24"/>
            <p:cNvSpPr txBox="1">
              <a:spLocks noChangeArrowheads="1"/>
            </p:cNvSpPr>
            <p:nvPr/>
          </p:nvSpPr>
          <p:spPr bwMode="auto">
            <a:xfrm>
              <a:off x="102338" y="442881"/>
              <a:ext cx="8859491" cy="253964"/>
            </a:xfrm>
            <a:prstGeom prst="rect">
              <a:avLst/>
            </a:prstGeom>
            <a:noFill/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600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Управление госфинансами </a:t>
              </a:r>
              <a:r>
                <a:rPr lang="ru-RU" altLang="en-US" sz="1333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 целях реализации положений КУГФ до 2030 года</a:t>
              </a:r>
            </a:p>
          </p:txBody>
        </p:sp>
        <p:sp>
          <p:nvSpPr>
            <p:cNvPr id="136201" name="Прямоугольник 25"/>
            <p:cNvSpPr>
              <a:spLocks noChangeArrowheads="1"/>
            </p:cNvSpPr>
            <p:nvPr/>
          </p:nvSpPr>
          <p:spPr bwMode="auto">
            <a:xfrm>
              <a:off x="102338" y="874764"/>
              <a:ext cx="2000530" cy="22313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истема бюджетных правил </a:t>
              </a:r>
            </a:p>
          </p:txBody>
        </p:sp>
        <p:sp>
          <p:nvSpPr>
            <p:cNvPr id="136202" name="Прямоугольник 26"/>
            <p:cNvSpPr>
              <a:spLocks noChangeArrowheads="1"/>
            </p:cNvSpPr>
            <p:nvPr/>
          </p:nvSpPr>
          <p:spPr bwMode="auto">
            <a:xfrm>
              <a:off x="2188605" y="874764"/>
              <a:ext cx="1762372" cy="53087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Управление долговыми обязательствами сектора госуправления</a:t>
              </a:r>
            </a:p>
          </p:txBody>
        </p:sp>
        <p:sp>
          <p:nvSpPr>
            <p:cNvPr id="136203" name="Прямоугольник 29"/>
            <p:cNvSpPr>
              <a:spLocks noChangeArrowheads="1"/>
            </p:cNvSpPr>
            <p:nvPr/>
          </p:nvSpPr>
          <p:spPr bwMode="auto">
            <a:xfrm>
              <a:off x="5851481" y="898580"/>
              <a:ext cx="1544853" cy="37700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Аналитический отчет о бюджетных рисках </a:t>
              </a:r>
            </a:p>
          </p:txBody>
        </p:sp>
        <p:sp>
          <p:nvSpPr>
            <p:cNvPr id="136204" name="Прямоугольник 30"/>
            <p:cNvSpPr>
              <a:spLocks noChangeArrowheads="1"/>
            </p:cNvSpPr>
            <p:nvPr/>
          </p:nvSpPr>
          <p:spPr bwMode="auto">
            <a:xfrm>
              <a:off x="7502713" y="898580"/>
              <a:ext cx="1459116" cy="53087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Аналитический отчет о налоговых расходах </a:t>
              </a:r>
            </a:p>
          </p:txBody>
        </p:sp>
        <p:sp>
          <p:nvSpPr>
            <p:cNvPr id="136205" name="TextBox 31"/>
            <p:cNvSpPr txBox="1">
              <a:spLocks noChangeArrowheads="1"/>
            </p:cNvSpPr>
            <p:nvPr/>
          </p:nvSpPr>
          <p:spPr bwMode="auto">
            <a:xfrm>
              <a:off x="2137799" y="1477787"/>
              <a:ext cx="1894152" cy="1942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  <a:tabLst>
                  <a:tab pos="179388" algn="l"/>
                </a:tabLst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граничение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оста долговой нагрузки 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а бюджет </a:t>
              </a:r>
            </a:p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  <a:tabLst>
                  <a:tab pos="179388" algn="l"/>
                </a:tabLst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недопущение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дефолтов</a:t>
              </a:r>
            </a:p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  <a:tabLst>
                  <a:tab pos="179388" algn="l"/>
                </a:tabLst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снижение валютных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исков</a:t>
              </a:r>
            </a:p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  <a:tabLst>
                  <a:tab pos="179388" algn="l"/>
                </a:tabLst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повышение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эффективности и дисциплины 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использования внешних и внутренних заимствований</a:t>
              </a:r>
            </a:p>
          </p:txBody>
        </p:sp>
        <p:sp>
          <p:nvSpPr>
            <p:cNvPr id="136206" name="Прямоугольник 32"/>
            <p:cNvSpPr>
              <a:spLocks noChangeArrowheads="1"/>
            </p:cNvSpPr>
            <p:nvPr/>
          </p:nvSpPr>
          <p:spPr bwMode="auto">
            <a:xfrm>
              <a:off x="102338" y="1468690"/>
              <a:ext cx="2086267" cy="23850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04040"/>
                </a:buClr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ланирование бюджета в рамках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бюджетных правил 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о ограничению объема гарантированного трансферта и темпов роста расходов республиканского бюджета</a:t>
              </a:r>
            </a:p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</a:t>
              </a:r>
            </a:p>
            <a:p>
              <a:pPr marL="179388" indent="-179388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04040"/>
                </a:buClr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регламентация случаев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тклонения от правил и возврата к первоначальной траектории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в случаях кризиса, ЧС и привлечения целевого трансферта из Национального фонда по поручениям Президента</a:t>
              </a:r>
            </a:p>
          </p:txBody>
        </p:sp>
        <p:sp>
          <p:nvSpPr>
            <p:cNvPr id="136209" name="Левая фигурная скобка 36"/>
            <p:cNvSpPr>
              <a:spLocks/>
            </p:cNvSpPr>
            <p:nvPr/>
          </p:nvSpPr>
          <p:spPr bwMode="auto">
            <a:xfrm rot="16200000">
              <a:off x="1892384" y="2210549"/>
              <a:ext cx="294742" cy="3821899"/>
            </a:xfrm>
            <a:prstGeom prst="leftBrace">
              <a:avLst>
                <a:gd name="adj1" fmla="val 8357"/>
                <a:gd name="adj2" fmla="val 50000"/>
              </a:avLst>
            </a:prstGeom>
            <a:noFill/>
            <a:ln w="6350" algn="ctr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2400"/>
            </a:p>
          </p:txBody>
        </p:sp>
        <p:sp>
          <p:nvSpPr>
            <p:cNvPr id="136210" name="Левая фигурная скобка 37"/>
            <p:cNvSpPr>
              <a:spLocks/>
            </p:cNvSpPr>
            <p:nvPr/>
          </p:nvSpPr>
          <p:spPr bwMode="auto">
            <a:xfrm rot="16200000">
              <a:off x="7322499" y="2682986"/>
              <a:ext cx="234995" cy="2876953"/>
            </a:xfrm>
            <a:prstGeom prst="leftBrace">
              <a:avLst>
                <a:gd name="adj1" fmla="val 8332"/>
                <a:gd name="adj2" fmla="val 50000"/>
              </a:avLst>
            </a:prstGeom>
            <a:noFill/>
            <a:ln w="6350" algn="ctr">
              <a:solidFill>
                <a:srgbClr val="A6A6A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endParaRPr lang="en-US" altLang="en-US" sz="2400"/>
            </a:p>
          </p:txBody>
        </p:sp>
        <p:sp>
          <p:nvSpPr>
            <p:cNvPr id="136211" name="Прямоугольник 38"/>
            <p:cNvSpPr>
              <a:spLocks noChangeArrowheads="1"/>
            </p:cNvSpPr>
            <p:nvPr/>
          </p:nvSpPr>
          <p:spPr bwMode="auto">
            <a:xfrm>
              <a:off x="6151560" y="4277876"/>
              <a:ext cx="2810269" cy="37700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редставление в Парламент </a:t>
              </a:r>
              <a:b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ru-RU" altLang="en-US" sz="1333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 составе материалов к проекту РБ</a:t>
              </a:r>
            </a:p>
          </p:txBody>
        </p:sp>
        <p:sp>
          <p:nvSpPr>
            <p:cNvPr id="136212" name="Прямоугольник 6"/>
            <p:cNvSpPr>
              <a:spLocks noChangeArrowheads="1"/>
            </p:cNvSpPr>
            <p:nvPr/>
          </p:nvSpPr>
          <p:spPr bwMode="auto">
            <a:xfrm>
              <a:off x="4031951" y="890642"/>
              <a:ext cx="1681398" cy="37700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Долгосрочный прогноз </a:t>
              </a:r>
            </a:p>
            <a:p>
              <a:pPr algn="ctr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333" b="1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звития РК на 10 лет</a:t>
              </a:r>
            </a:p>
          </p:txBody>
        </p:sp>
        <p:sp>
          <p:nvSpPr>
            <p:cNvPr id="136213" name="Прямоугольник 8"/>
            <p:cNvSpPr>
              <a:spLocks noChangeArrowheads="1"/>
            </p:cNvSpPr>
            <p:nvPr/>
          </p:nvSpPr>
          <p:spPr bwMode="auto">
            <a:xfrm>
              <a:off x="3950705" y="1477057"/>
              <a:ext cx="1924320" cy="19734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71450" indent="-171450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28594" indent="-228594" defTabSz="121917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зрабатывается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каждые три года 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а базе различных сценариев: базовый, Нацплан развития, углеродной нейтральности и др.</a:t>
              </a:r>
            </a:p>
            <a:p>
              <a:pPr marL="228594" indent="-228594" defTabSz="1219170" fontAlgn="base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404040"/>
                </a:buClr>
              </a:pP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одержит информацию по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аправлениям и динамике </a:t>
              </a:r>
              <a:r>
                <a:rPr lang="ru-RU" altLang="en-US" sz="1333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звития отраслей экономики и </a:t>
              </a:r>
              <a:r>
                <a:rPr lang="ru-RU" altLang="en-US" sz="1333" b="1" dirty="0">
                  <a:solidFill>
                    <a:srgbClr val="40404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ценку устойчивости госфинансов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75689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: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инструменты управления госфинансами</a:t>
            </a: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7830607" y="2040470"/>
            <a:ext cx="2142067" cy="3451201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indent="-226478" defTabSz="91861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rgbClr val="404040"/>
                </a:solidFill>
              </a:rPr>
              <a:t>анализ</a:t>
            </a:r>
            <a:r>
              <a:rPr lang="ru-RU" altLang="ru-RU" sz="1333" dirty="0">
                <a:solidFill>
                  <a:srgbClr val="404040"/>
                </a:solidFill>
              </a:rPr>
              <a:t> бюджетных рисков, влияющих на бюджет </a:t>
            </a:r>
          </a:p>
          <a:p>
            <a:pPr marL="226478" indent="-226478" defTabSz="91861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rgbClr val="404040"/>
                </a:solidFill>
              </a:rPr>
              <a:t>включает</a:t>
            </a:r>
            <a:r>
              <a:rPr lang="ru-RU" altLang="ru-RU" sz="1333" dirty="0">
                <a:solidFill>
                  <a:srgbClr val="404040"/>
                </a:solidFill>
              </a:rPr>
              <a:t> макроэкономические, квазифискальные риски, риски финансового сектора, риски, связанные с долговыми обязательствами сектора госуправления и другие специфичные риски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10009525" y="2040470"/>
            <a:ext cx="2038733" cy="222048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69863" indent="-169863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indent="-226478" defTabSz="91861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rgbClr val="404040"/>
                </a:solidFill>
              </a:rPr>
              <a:t>раскрытие информации </a:t>
            </a:r>
            <a:r>
              <a:rPr lang="ru-RU" altLang="ru-RU" sz="1333" b="1" dirty="0">
                <a:solidFill>
                  <a:srgbClr val="404040"/>
                </a:solidFill>
              </a:rPr>
              <a:t>об упущенных доходах от налоговых льгот и освобождений</a:t>
            </a:r>
          </a:p>
          <a:p>
            <a:pPr marL="226478" indent="-226478" defTabSz="91861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rgbClr val="404040"/>
                </a:solidFill>
              </a:rPr>
              <a:t>анализ </a:t>
            </a:r>
            <a:r>
              <a:rPr lang="ru-RU" altLang="ru-RU" sz="1333" b="1" dirty="0">
                <a:solidFill>
                  <a:srgbClr val="404040"/>
                </a:solidFill>
              </a:rPr>
              <a:t>эффективности и целесообразности </a:t>
            </a:r>
            <a:r>
              <a:rPr lang="ru-RU" altLang="ru-RU" sz="1333" dirty="0">
                <a:solidFill>
                  <a:srgbClr val="404040"/>
                </a:solidFill>
              </a:rPr>
              <a:t>налоговых льгот</a:t>
            </a:r>
          </a:p>
        </p:txBody>
      </p:sp>
      <p:sp>
        <p:nvSpPr>
          <p:cNvPr id="25" name="TextBox 10"/>
          <p:cNvSpPr txBox="1">
            <a:spLocks noChangeArrowheads="1"/>
          </p:cNvSpPr>
          <p:nvPr/>
        </p:nvSpPr>
        <p:spPr bwMode="auto">
          <a:xfrm>
            <a:off x="95795" y="6294305"/>
            <a:ext cx="121919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i="1" dirty="0">
                <a:solidFill>
                  <a:srgbClr val="44546A"/>
                </a:solidFill>
              </a:rPr>
              <a:t>данные инструменты являются требованиями международных стандартов, особенно важно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i="1" dirty="0">
                <a:solidFill>
                  <a:srgbClr val="44546A"/>
                </a:solidFill>
              </a:rPr>
              <a:t>при </a:t>
            </a:r>
            <a:r>
              <a:rPr lang="ru-RU" altLang="ru-RU" sz="1200" b="1" i="1" dirty="0">
                <a:solidFill>
                  <a:srgbClr val="44546A"/>
                </a:solidFill>
              </a:rPr>
              <a:t>осуществлении рейтинга страны</a:t>
            </a:r>
            <a:r>
              <a:rPr lang="ru-RU" altLang="ru-RU" sz="1200" i="1" dirty="0">
                <a:solidFill>
                  <a:srgbClr val="44546A"/>
                </a:solidFill>
              </a:rPr>
              <a:t>, </a:t>
            </a:r>
            <a:r>
              <a:rPr lang="ru-RU" altLang="ru-RU" sz="1200" b="1" i="1" dirty="0">
                <a:solidFill>
                  <a:srgbClr val="44546A"/>
                </a:solidFill>
              </a:rPr>
              <a:t>заимствовании средств</a:t>
            </a:r>
            <a:endParaRPr lang="ru-RU" altLang="ru-RU" sz="1200" i="1" dirty="0">
              <a:solidFill>
                <a:srgbClr val="4454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94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56754" y="942908"/>
            <a:ext cx="11844352" cy="5890406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255588" indent="-255588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69863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533"/>
              </a:spcAft>
              <a:buClrTx/>
            </a:pPr>
            <a:r>
              <a:rPr lang="ru-RU" altLang="ru-RU" sz="1600" b="1" dirty="0">
                <a:solidFill>
                  <a:srgbClr val="1F4E79"/>
                </a:solidFill>
              </a:rPr>
              <a:t>ПРЕДЛАГАЕТСЯ: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5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УЧАСТИЕ субъектов квазигосударственного сектора (СКС) в бюджетном процессе</a:t>
            </a:r>
          </a:p>
          <a:p>
            <a:pPr marL="745055" lvl="1" indent="-285750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50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altLang="ru-RU" sz="1600" dirty="0">
                <a:solidFill>
                  <a:schemeClr val="tx1"/>
                </a:solidFill>
              </a:rPr>
              <a:t>через планы развития или планы мероприятий в их реализацию</a:t>
            </a:r>
          </a:p>
          <a:p>
            <a:pPr marL="918610" lvl="2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500"/>
              </a:spcAft>
              <a:buClrTx/>
            </a:pPr>
            <a:r>
              <a:rPr lang="ru-RU" altLang="ru-RU" i="1" dirty="0">
                <a:solidFill>
                  <a:schemeClr val="tx1"/>
                </a:solidFill>
              </a:rPr>
              <a:t>документ на 5 лет, взаимоувязанный с планом развития госоргана, которым выделяются бюджетные средства (пополнение уставного капитала, бюджетный кредит, госзадание) </a:t>
            </a:r>
          </a:p>
          <a:p>
            <a:pPr marL="918610" lvl="2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500"/>
              </a:spcAft>
              <a:buClrTx/>
            </a:pPr>
            <a:r>
              <a:rPr lang="ru-RU" altLang="ru-RU" i="1" dirty="0">
                <a:solidFill>
                  <a:schemeClr val="tx1"/>
                </a:solidFill>
              </a:rPr>
              <a:t>предоставляется в составе бюджетного запроса и в составе материалов по проекту бюджета в Парламент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ДОКЛАД первых руководителей НУХ, НК, НХ </a:t>
            </a:r>
            <a:r>
              <a:rPr lang="ru-RU" altLang="ru-RU" sz="1600" dirty="0">
                <a:solidFill>
                  <a:schemeClr val="tx1"/>
                </a:solidFill>
              </a:rPr>
              <a:t>при защите бюджета и годового отчета в Парламенте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ПРОГНОЗИРОВАНИЕ их внешних займов </a:t>
            </a:r>
            <a:r>
              <a:rPr lang="ru-RU" altLang="ru-RU" sz="1600" dirty="0">
                <a:solidFill>
                  <a:schemeClr val="tx1"/>
                </a:solidFill>
              </a:rPr>
              <a:t>в составе ПСЭР </a:t>
            </a:r>
            <a:endParaRPr lang="en-US" altLang="ru-RU" sz="1600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РАСШИРЕНИЕ сведений </a:t>
            </a:r>
            <a:r>
              <a:rPr lang="ru-RU" altLang="ru-RU" sz="1600" dirty="0">
                <a:solidFill>
                  <a:schemeClr val="tx1"/>
                </a:solidFill>
              </a:rPr>
              <a:t>по долговым обязательствам сектора госуправления по займам </a:t>
            </a:r>
            <a:r>
              <a:rPr lang="ru-RU" altLang="ru-RU" sz="1600" dirty="0" smtClean="0">
                <a:solidFill>
                  <a:schemeClr val="tx1"/>
                </a:solidFill>
              </a:rPr>
              <a:t>СКС</a:t>
            </a:r>
            <a:endParaRPr lang="ru-RU" altLang="ru-RU" sz="1600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ВОЗВРАТ в соответствующий бюджет </a:t>
            </a:r>
            <a:r>
              <a:rPr lang="ru-RU" altLang="ru-RU" sz="1600" dirty="0">
                <a:solidFill>
                  <a:schemeClr val="tx1"/>
                </a:solidFill>
              </a:rPr>
              <a:t>по решению бюджетной комиссии остатков на КСН </a:t>
            </a:r>
            <a:r>
              <a:rPr lang="ru-RU" altLang="ru-RU" sz="1600" dirty="0" smtClean="0">
                <a:solidFill>
                  <a:schemeClr val="tx1"/>
                </a:solidFill>
              </a:rPr>
              <a:t>СКС </a:t>
            </a:r>
            <a:r>
              <a:rPr lang="ru-RU" altLang="ru-RU" sz="1600" dirty="0">
                <a:solidFill>
                  <a:schemeClr val="tx1"/>
                </a:solidFill>
              </a:rPr>
              <a:t>(сейчас согласно решению Совета директоров)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ОБСУЖДЕНИЕ результатов оценки по госимуществу </a:t>
            </a:r>
            <a:r>
              <a:rPr lang="ru-RU" altLang="ru-RU" sz="1600" dirty="0">
                <a:solidFill>
                  <a:schemeClr val="tx1"/>
                </a:solidFill>
              </a:rPr>
              <a:t>на общественных советах/Парламенте 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РАЗРАБОТКА И ПРЕДОСТАВЛЕНИЕ Национального доклада </a:t>
            </a:r>
            <a:r>
              <a:rPr lang="ru-RU" altLang="ru-RU" sz="1600" dirty="0">
                <a:solidFill>
                  <a:schemeClr val="tx1"/>
                </a:solidFill>
              </a:rPr>
              <a:t>по управлению государственными активами и квазигосударственным сектором в Парламент в составе бюджетной документации и годового отчета</a:t>
            </a:r>
            <a:endParaRPr lang="en-US" altLang="ru-RU" sz="1600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РЕГУЛИРОВАНИЕ дивидендной политик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–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одотчетность СКС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90893" y="580625"/>
            <a:ext cx="1181021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ЕСПЕЧЕНИЕ</a:t>
            </a:r>
            <a:r>
              <a:rPr lang="ru-RU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ведений по бюджетным средствам, выделяемым СКС </a:t>
            </a:r>
            <a:endParaRPr lang="ru-RU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3405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–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консолидация госфинансов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00297" y="628301"/>
            <a:ext cx="11803319" cy="5506767"/>
            <a:chOff x="200297" y="628301"/>
            <a:chExt cx="11803319" cy="5506767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264159" y="1149618"/>
              <a:ext cx="11739457" cy="3585288"/>
            </a:xfrm>
            <a:prstGeom prst="rect">
              <a:avLst/>
            </a:prstGeom>
          </p:spPr>
          <p:txBody>
            <a:bodyPr wrap="square" lIns="121615" tIns="60807" rIns="121615" bIns="60807">
              <a:spAutoFit/>
            </a:bodyPr>
            <a:lstStyle>
              <a:lvl1pPr marL="169863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514350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860425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marL="0" indent="0" algn="just" defTabSz="918610" fontAlgn="base"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ru-RU" altLang="ru-RU" sz="1800" b="1" dirty="0">
                  <a:solidFill>
                    <a:srgbClr val="1F4E79"/>
                  </a:solidFill>
                </a:rPr>
                <a:t>ПРЕДЛАГАЕТСЯ:</a:t>
              </a:r>
            </a:p>
            <a:p>
              <a:pPr marL="0" indent="0" algn="just" defTabSz="918610" fontAlgn="base">
                <a:spcBef>
                  <a:spcPct val="0"/>
                </a:spcBef>
                <a:spcAft>
                  <a:spcPct val="0"/>
                </a:spcAft>
                <a:buClrTx/>
              </a:pPr>
              <a:endParaRPr lang="ru-RU" altLang="ru-RU" sz="1800" b="1" u="sng" dirty="0">
                <a:solidFill>
                  <a:srgbClr val="1F4E79"/>
                </a:solidFill>
              </a:endParaRPr>
            </a:p>
            <a:p>
              <a:pPr marL="226478" indent="-226478" algn="just" defTabSz="918610" fontAlgn="base">
                <a:spcBef>
                  <a:spcPct val="0"/>
                </a:spcBef>
                <a:spcAft>
                  <a:spcPct val="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800" b="1" dirty="0">
                  <a:solidFill>
                    <a:srgbClr val="1F4E79"/>
                  </a:solidFill>
                </a:rPr>
                <a:t>СОЗДАНИЕ методологической основы:</a:t>
              </a:r>
            </a:p>
            <a:p>
              <a:pPr marL="226478" indent="-226478" algn="just" defTabSz="918610" fontAlgn="base">
                <a:spcBef>
                  <a:spcPct val="0"/>
                </a:spcBef>
                <a:spcAft>
                  <a:spcPct val="0"/>
                </a:spcAft>
                <a:buClrTx/>
                <a:buFont typeface="Wingdings" panose="05000000000000000000" pitchFamily="2" charset="2"/>
                <a:buChar char="Ø"/>
              </a:pPr>
              <a:endParaRPr lang="ru-RU" altLang="ru-RU" sz="1800" b="1" dirty="0">
                <a:solidFill>
                  <a:srgbClr val="1F4E79"/>
                </a:solidFill>
              </a:endParaRPr>
            </a:p>
            <a:p>
              <a:pPr marL="685783" lvl="1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дальнейшее внедрение 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МСФООС</a:t>
              </a:r>
            </a:p>
            <a:p>
              <a:pPr marL="685783" lvl="1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формирование 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единого плана счетов</a:t>
              </a:r>
            </a:p>
            <a:p>
              <a:pPr marL="685783" lvl="1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с 2027 года – формирование 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тчета по статистике госфинансов</a:t>
              </a:r>
            </a:p>
            <a:p>
              <a:pPr marL="685783" lvl="1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именение в бюджетном процессе 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гнозной консолидированной финансовой отчетности</a:t>
              </a:r>
            </a:p>
            <a:p>
              <a:pPr marL="685783" lvl="1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тказ от нестандартных механизмов «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целевой вклад</a:t>
              </a: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», «</a:t>
              </a:r>
              <a:r>
                <a:rPr lang="ru-RU" altLang="ru-RU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целевое перечисление</a:t>
              </a:r>
              <a:r>
                <a:rPr lang="ru-RU" altLang="ru-RU" sz="18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»</a:t>
              </a:r>
            </a:p>
            <a:p>
              <a:pPr marL="685783" lvl="1" indent="-226478" algn="just" defTabSz="918610" fontAlgn="base">
                <a:spcBef>
                  <a:spcPct val="0"/>
                </a:spcBef>
                <a:spcAft>
                  <a:spcPct val="0"/>
                </a:spcAft>
                <a:buClrTx/>
              </a:pPr>
              <a:endParaRPr lang="ru-RU" altLang="ru-RU" sz="1800" dirty="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264159" y="5016749"/>
              <a:ext cx="4787896" cy="111831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язательная публикация и применение </a:t>
              </a: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и планировании бюджета</a:t>
              </a: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7064470" y="5016749"/>
              <a:ext cx="4787896" cy="111831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оответствие международным стандартам и достаточный уровень открытости</a:t>
              </a: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0297" y="4842356"/>
              <a:ext cx="11730446" cy="13983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264159" y="628301"/>
              <a:ext cx="11739456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ЕСПЕЧЕНИЕ </a:t>
              </a:r>
              <a:r>
                <a:rPr lang="ru-RU" alt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ета всех обязательств и активов сектора госуправлени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4994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50551" y="-639233"/>
            <a:ext cx="1253067" cy="369023"/>
          </a:xfrm>
          <a:prstGeom prst="rect">
            <a:avLst/>
          </a:prstGeom>
          <a:noFill/>
        </p:spPr>
        <p:txBody>
          <a:bodyPr lIns="121615" tIns="60807" rIns="121615" bIns="60807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600" b="1">
                <a:solidFill>
                  <a:srgbClr val="385723"/>
                </a:solidFill>
              </a:rPr>
              <a:t>Эффект:</a:t>
            </a:r>
          </a:p>
        </p:txBody>
      </p:sp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– </a:t>
            </a:r>
            <a:r>
              <a:rPr lang="ru-RU" sz="2400" b="1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ациональный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фонд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44780" y="553009"/>
            <a:ext cx="11978218" cy="5359814"/>
            <a:chOff x="144780" y="553009"/>
            <a:chExt cx="11978218" cy="5359814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44780" y="984282"/>
              <a:ext cx="11978218" cy="4928541"/>
            </a:xfrm>
            <a:prstGeom prst="rect">
              <a:avLst/>
            </a:prstGeom>
          </p:spPr>
          <p:txBody>
            <a:bodyPr wrap="square" lIns="121615" tIns="60807" rIns="121615" bIns="60807">
              <a:spAutoFit/>
            </a:bodyPr>
            <a:lstStyle>
              <a:lvl1pPr marL="169863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860425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514350" indent="-17145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marL="0" indent="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400"/>
                </a:spcAft>
                <a:buClrTx/>
              </a:pPr>
              <a:r>
                <a:rPr lang="ru-RU" altLang="ru-RU" sz="1600" b="1" dirty="0">
                  <a:solidFill>
                    <a:srgbClr val="1F4E79"/>
                  </a:solidFill>
                </a:rPr>
                <a:t>ПРЕДЛАГАЕТСЯ: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40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600" b="1" dirty="0">
                  <a:solidFill>
                    <a:srgbClr val="1F4E79"/>
                  </a:solidFill>
                </a:rPr>
                <a:t>ОГРАНИЧЕНИЕ на использование средств Нацфонда</a:t>
              </a:r>
              <a:r>
                <a:rPr lang="ru-RU" altLang="ru-RU" b="1" dirty="0">
                  <a:solidFill>
                    <a:srgbClr val="1F4E79"/>
                  </a:solidFill>
                </a:rPr>
                <a:t> </a:t>
              </a:r>
              <a:r>
                <a:rPr lang="ru-RU" altLang="ru-RU" i="1" dirty="0">
                  <a:solidFill>
                    <a:srgbClr val="1F4E79"/>
                  </a:solidFill>
                </a:rPr>
                <a:t>(из положений Концепции госфинансов до 2030 года)</a:t>
              </a:r>
              <a:r>
                <a:rPr lang="ru-RU" altLang="ru-RU" b="1" dirty="0">
                  <a:solidFill>
                    <a:srgbClr val="1F4E79"/>
                  </a:solidFill>
                </a:rPr>
                <a:t>: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Новые:</a:t>
              </a:r>
            </a:p>
            <a:p>
              <a:pPr marL="1206477" lvl="1" indent="-28575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›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запрет на инвестирование </a:t>
              </a: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во внутренние финансовые инструменты казахстанских эмитентов</a:t>
              </a: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 </a:t>
              </a:r>
              <a:r>
                <a:rPr lang="ru-RU" altLang="ru-RU" sz="1200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за исключением приобретения долговых ценных бумаг ФНБ)</a:t>
              </a:r>
            </a:p>
            <a:p>
              <a:pPr marL="1206477" lvl="1" indent="-28575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›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запрет на финансирование текущих расходов бюджета</a:t>
              </a:r>
            </a:p>
            <a:p>
              <a:pPr marL="1206477" lvl="1" indent="-28575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›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граничение на использование </a:t>
              </a: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целевыми ориентирами</a:t>
              </a:r>
              <a:endPara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Уточнение редакций действующих норм :</a:t>
              </a:r>
            </a:p>
            <a:p>
              <a:pPr marL="1206477" lvl="1" indent="-28575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›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на кредитование, в том числе за счет целевых трансфертов из Нацфонда</a:t>
              </a:r>
            </a:p>
            <a:p>
              <a:pPr marL="1206477" lvl="1" indent="-28575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›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в качестве обеспечения исполнения долговых обязательств</a:t>
              </a:r>
            </a:p>
            <a:p>
              <a:pPr marL="920727" lvl="1" indent="0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>
                  <a:schemeClr val="tx1">
                    <a:lumMod val="85000"/>
                    <a:lumOff val="15000"/>
                  </a:schemeClr>
                </a:buClr>
              </a:pPr>
              <a:endParaRPr lang="ru-RU" altLang="ru-RU" dirty="0"/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40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600" b="1" dirty="0">
                  <a:solidFill>
                    <a:srgbClr val="1F4E79"/>
                  </a:solidFill>
                </a:rPr>
                <a:t>УСИЛЕНИЕ требований к финансированию расходов </a:t>
              </a:r>
              <a:r>
                <a:rPr lang="ru-RU" altLang="ru-RU" sz="1600" b="1" u="sng" dirty="0">
                  <a:solidFill>
                    <a:srgbClr val="1F4E79"/>
                  </a:solidFill>
                </a:rPr>
                <a:t>за счет целевого трансферта </a:t>
              </a:r>
              <a:r>
                <a:rPr lang="ru-RU" altLang="ru-RU" sz="1600" b="1" dirty="0">
                  <a:solidFill>
                    <a:srgbClr val="1F4E79"/>
                  </a:solidFill>
                </a:rPr>
                <a:t>из Нацфонда</a:t>
              </a:r>
              <a:r>
                <a:rPr lang="ru-RU" altLang="ru-RU" b="1" dirty="0">
                  <a:solidFill>
                    <a:srgbClr val="1F4E79"/>
                  </a:solidFill>
                </a:rPr>
                <a:t>: 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направление только на развитие критической инфраструктуры, проекты общестранового значения </a:t>
              </a:r>
              <a:r>
                <a:rPr lang="ru-RU" altLang="ru-RU" sz="1200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(даны критерии) 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внедрение </a:t>
              </a: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тветственности первого руководителя АБП </a:t>
              </a: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за нецелевое использование целевого трансферта 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endParaRPr lang="ru-RU" altLang="ru-RU" dirty="0">
                <a:solidFill>
                  <a:srgbClr val="1F4E79"/>
                </a:solidFill>
              </a:endParaRP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40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b="1" dirty="0">
                  <a:solidFill>
                    <a:srgbClr val="1F4E79"/>
                  </a:solidFill>
                </a:rPr>
                <a:t>ВКЛЮЧЕНИЕ</a:t>
              </a:r>
              <a:r>
                <a:rPr lang="ru-RU" altLang="ru-RU" sz="1600" b="1" dirty="0">
                  <a:solidFill>
                    <a:srgbClr val="1F4E79"/>
                  </a:solidFill>
                </a:rPr>
                <a:t> «Нацфонда детям»</a:t>
              </a:r>
              <a:r>
                <a:rPr lang="ru-RU" altLang="ru-RU" b="1" dirty="0">
                  <a:solidFill>
                    <a:srgbClr val="1F4E79"/>
                  </a:solidFill>
                </a:rPr>
                <a:t>: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ограничение </a:t>
              </a: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использования объемом целевых требований</a:t>
              </a:r>
            </a:p>
            <a:p>
              <a:pPr marL="226478" indent="-226478" defTabSz="918610" fontAlgn="base">
                <a:lnSpc>
                  <a:spcPct val="112000"/>
                </a:lnSpc>
                <a:spcBef>
                  <a:spcPct val="0"/>
                </a:spcBef>
                <a:spcAft>
                  <a:spcPts val="133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едставление </a:t>
              </a:r>
              <a:r>
                <a:rPr lang="ru-RU" altLang="ru-RU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в составе годового отчета об РБ информации по </a:t>
              </a:r>
              <a:r>
                <a:rPr lang="ru-RU" altLang="ru-RU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инвестдоходу и «Нацфонду детям</a:t>
              </a:r>
              <a:r>
                <a:rPr lang="ru-RU" altLang="ru-RU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»</a:t>
              </a:r>
              <a:endPara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144780" y="553009"/>
              <a:ext cx="11858838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r>
                <a:rPr lang="ru-RU" b="1" dirty="0">
                  <a:solidFill>
                    <a:srgbClr val="25406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СИЛЕНИЕ сберегательной функции Национального фонда </a:t>
              </a:r>
              <a:endParaRPr lang="ru-RU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8660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69239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ОСНОВЫ БЮДЖЕТНОЙ ПОЛИТИКИ -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пециальный государственный фонд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44830" y="573576"/>
            <a:ext cx="11902335" cy="6163789"/>
            <a:chOff x="144830" y="573576"/>
            <a:chExt cx="11902335" cy="6163789"/>
          </a:xfrm>
        </p:grpSpPr>
        <p:sp>
          <p:nvSpPr>
            <p:cNvPr id="6" name="TextBox 5"/>
            <p:cNvSpPr txBox="1"/>
            <p:nvPr/>
          </p:nvSpPr>
          <p:spPr>
            <a:xfrm>
              <a:off x="264160" y="1041524"/>
              <a:ext cx="11739457" cy="42287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 marL="169863" indent="-1698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450850" indent="-106363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marL="0" indent="0" algn="just" defTabSz="918610" fontAlgn="base">
                <a:lnSpc>
                  <a:spcPct val="112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ru-RU" altLang="ru-RU" sz="1800" b="1" dirty="0">
                  <a:solidFill>
                    <a:srgbClr val="254061"/>
                  </a:solidFill>
                </a:rPr>
                <a:t>ПРЕДЛАГАЕТСЯ:</a:t>
              </a:r>
            </a:p>
            <a:p>
              <a:pPr marL="0" indent="0" algn="just" defTabSz="918610" fontAlgn="base">
                <a:lnSpc>
                  <a:spcPct val="112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ru-RU" altLang="ru-RU" sz="1800" b="1" u="sng" dirty="0">
                <a:solidFill>
                  <a:srgbClr val="254061"/>
                </a:solidFill>
              </a:endParaRPr>
            </a:p>
            <a:p>
              <a:pPr marL="226478" indent="-226478" algn="just" defTabSz="918610" fontAlgn="base">
                <a:lnSpc>
                  <a:spcPct val="112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800" b="1" dirty="0">
                  <a:solidFill>
                    <a:srgbClr val="254061"/>
                  </a:solidFill>
                </a:rPr>
                <a:t>ОБЪЕДИНЕНИЕ </a:t>
              </a:r>
              <a:r>
                <a:rPr lang="ru-RU" altLang="ru-RU" sz="1800" b="1" dirty="0">
                  <a:solidFill>
                    <a:srgbClr val="5B9BD5"/>
                  </a:solidFill>
                </a:rPr>
                <a:t>«Фонда поддержки инфраструктуры образования»                                                                                                            </a:t>
              </a:r>
            </a:p>
            <a:p>
              <a:pPr marL="0" indent="0" algn="just" defTabSz="918610" fontAlgn="base">
                <a:lnSpc>
                  <a:spcPct val="112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r>
                <a:rPr lang="ru-RU" altLang="ru-RU" sz="1800" b="1" dirty="0">
                  <a:solidFill>
                    <a:srgbClr val="5B9BD5"/>
                  </a:solidFill>
                </a:rPr>
                <a:t>                                 </a:t>
              </a:r>
              <a:r>
                <a:rPr lang="kk-KZ" altLang="ru-RU" sz="1800" b="1" dirty="0">
                  <a:solidFill>
                    <a:srgbClr val="5B9BD5"/>
                  </a:solidFill>
                </a:rPr>
                <a:t>и нового «Специального государственного фонда» </a:t>
              </a:r>
            </a:p>
            <a:p>
              <a:pPr marL="0" indent="0" algn="just" defTabSz="918610" fontAlgn="base">
                <a:lnSpc>
                  <a:spcPct val="112000"/>
                </a:lnSpc>
                <a:spcBef>
                  <a:spcPct val="0"/>
                </a:spcBef>
                <a:spcAft>
                  <a:spcPct val="0"/>
                </a:spcAft>
                <a:buClrTx/>
              </a:pPr>
              <a:endParaRPr lang="kk-KZ" altLang="ru-RU" sz="1800" b="1" dirty="0">
                <a:solidFill>
                  <a:srgbClr val="5B9BD5"/>
                </a:solidFill>
              </a:endParaRPr>
            </a:p>
            <a:p>
              <a:pPr marL="226478" indent="-226478" algn="just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600" b="1" dirty="0">
                  <a:solidFill>
                    <a:srgbClr val="254061"/>
                  </a:solidFill>
                </a:rPr>
                <a:t>Источники поступлений </a:t>
              </a:r>
              <a:r>
                <a:rPr lang="ru-RU" altLang="ru-RU" sz="1600" dirty="0">
                  <a:solidFill>
                    <a:srgbClr val="254061"/>
                  </a:solidFill>
                </a:rPr>
                <a:t>в Фонд:</a:t>
              </a:r>
            </a:p>
            <a:p>
              <a:pPr marL="601118" lvl="1" indent="-141814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деньги, </a:t>
              </a:r>
              <a:r>
                <a:rPr lang="ru-RU" alt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анее поступившие </a:t>
              </a: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 «Фонд поддержки инфраструктуры образования»</a:t>
              </a:r>
            </a:p>
            <a:p>
              <a:pPr marL="601118" lvl="1" indent="-141814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деньги, поступившие от </a:t>
              </a:r>
              <a:r>
                <a:rPr lang="ru-RU" alt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еализации имущества </a:t>
              </a: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гласно закону о возврате незаконно приобретенных активов</a:t>
              </a:r>
            </a:p>
            <a:p>
              <a:pPr marL="226478" indent="-226478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Wingdings" panose="05000000000000000000" pitchFamily="2" charset="2"/>
                <a:buChar char="Ø"/>
              </a:pPr>
              <a:r>
                <a:rPr lang="ru-RU" altLang="ru-RU" sz="1600" b="1" dirty="0">
                  <a:solidFill>
                    <a:srgbClr val="254061"/>
                  </a:solidFill>
                </a:rPr>
                <a:t>Расходование </a:t>
              </a:r>
              <a:r>
                <a:rPr lang="ru-RU" altLang="ru-RU" sz="1600" dirty="0">
                  <a:solidFill>
                    <a:srgbClr val="254061"/>
                  </a:solidFill>
                </a:rPr>
                <a:t>Фонда:</a:t>
              </a:r>
            </a:p>
            <a:p>
              <a:pPr marL="601118" lvl="1" indent="-141814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циальные</a:t>
              </a: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проекты</a:t>
              </a:r>
            </a:p>
            <a:p>
              <a:pPr marL="601118" lvl="1" indent="-141814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экономические</a:t>
              </a: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проекты</a:t>
              </a:r>
            </a:p>
            <a:p>
              <a:pPr marL="601118" lvl="1" indent="-141814" defTabSz="918610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</a:pP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ак </a:t>
              </a:r>
              <a:r>
                <a:rPr lang="ru-RU" alt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трансферт</a:t>
              </a:r>
              <a:r>
                <a:rPr lang="ru-RU" alt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в республиканский бюджет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264160" y="5337773"/>
              <a:ext cx="5145761" cy="90287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мпонент блочного бюджета </a:t>
              </a:r>
              <a:r>
                <a:rPr lang="ru-RU" sz="16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Сингапур)</a:t>
              </a: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6901403" y="5337773"/>
              <a:ext cx="5145761" cy="90287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endPara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>
                <a:defRPr/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егуляторная роль </a:t>
              </a:r>
              <a:r>
                <a:rPr lang="ru-RU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буферная подушка)</a:t>
              </a:r>
            </a:p>
            <a:p>
              <a:pPr algn="ctr" defTabSz="1199243">
                <a:defRPr/>
              </a:pPr>
              <a:r>
                <a:rPr lang="ru-RU" sz="16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2C50600E-137D-4886-AAF3-DD8C07E562F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830" y="5187719"/>
              <a:ext cx="11902335" cy="37056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50000"/>
                </a:sysClr>
              </a:solidFill>
              <a:prstDash val="dash"/>
              <a:miter lim="800000"/>
            </a:ln>
            <a:effectLst/>
          </p:spPr>
        </p:cxn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1840193" y="6398811"/>
              <a:ext cx="8511611" cy="33855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r>
                <a:rPr lang="ru-RU" sz="1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тчетность в составе годового отчета об исполнении РБ </a:t>
              </a: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4E2F600E-D383-ABDD-D1FC-7A6BC7E12326}"/>
                </a:ext>
              </a:extLst>
            </p:cNvPr>
            <p:cNvSpPr/>
            <p:nvPr/>
          </p:nvSpPr>
          <p:spPr>
            <a:xfrm>
              <a:off x="264160" y="573576"/>
              <a:ext cx="11739457" cy="3693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>
                <a:defRPr/>
              </a:pP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БЕСПЕЧЕНИЕ</a:t>
              </a:r>
              <a:r>
                <a:rPr lang="ru-RU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гарантии финансирования социальных и экономических проектов </a:t>
              </a:r>
              <a:endPara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7694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783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715" name="Прямоугольник 4"/>
          <p:cNvSpPr>
            <a:spLocks noChangeArrowheads="1"/>
          </p:cNvSpPr>
          <p:nvPr/>
        </p:nvSpPr>
        <p:spPr bwMode="auto">
          <a:xfrm>
            <a:off x="78317" y="1828800"/>
            <a:ext cx="60960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altLang="ru-RU" sz="1867"/>
          </a:p>
        </p:txBody>
      </p:sp>
      <p:sp>
        <p:nvSpPr>
          <p:cNvPr id="7" name="TextBox 6"/>
          <p:cNvSpPr txBox="1"/>
          <p:nvPr/>
        </p:nvSpPr>
        <p:spPr>
          <a:xfrm>
            <a:off x="173899" y="1028924"/>
            <a:ext cx="11829719" cy="515309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71450" indent="-1714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49263" indent="-1841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altLang="ru-RU" sz="1600" b="1" dirty="0">
                <a:solidFill>
                  <a:srgbClr val="1F4E79"/>
                </a:solidFill>
              </a:rPr>
              <a:t>ПРЕДЛАГАЕТСЯ:</a:t>
            </a: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АНАЛИЗ налогового разрыва и потенциала </a:t>
            </a:r>
            <a:r>
              <a:rPr lang="ru-RU" altLang="ru-RU" sz="1600" dirty="0">
                <a:solidFill>
                  <a:schemeClr val="tx1"/>
                </a:solidFill>
              </a:rPr>
              <a:t>в составе аналитического отчета </a:t>
            </a:r>
            <a:r>
              <a:rPr lang="ru-RU" altLang="ru-RU" sz="1600" b="1" dirty="0">
                <a:solidFill>
                  <a:schemeClr val="tx1"/>
                </a:solidFill>
              </a:rPr>
              <a:t>о налоговых расходах</a:t>
            </a: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ПРОЗРАЧНОСТЬ</a:t>
            </a:r>
            <a:r>
              <a:rPr lang="ru-RU" altLang="ru-RU" sz="1600" dirty="0">
                <a:solidFill>
                  <a:srgbClr val="1F4E79"/>
                </a:solidFill>
              </a:rPr>
              <a:t> по отчислениям, которые поступают в бюджет или проходят вне бюджета: </a:t>
            </a:r>
            <a:endParaRPr lang="ru-RU" altLang="ru-RU" sz="1600" b="1" dirty="0">
              <a:solidFill>
                <a:srgbClr val="1F4E79"/>
              </a:solidFill>
            </a:endParaRP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ключение информации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отчислениям </a:t>
            </a:r>
            <a:r>
              <a:rPr lang="ru-RU" altLang="ru-RU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недропользователей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в план развития региона, проект местного бюджета и годовой отчет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ведение понятия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«Специальные поступления» 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ониторинг, отчетность и публикации обязательств </a:t>
            </a:r>
            <a:r>
              <a:rPr lang="ru-RU" altLang="ru-RU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 договорам, контрактам, соглашениям, меморандумам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направленным на предоставление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мущественных и неимущественных благ государству или региону, в том числе в денежной форме</a:t>
            </a: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РАСПРЕДЕЛЕНИЕ между уровнями бюджета</a:t>
            </a:r>
            <a:endParaRPr lang="ru-RU" altLang="ru-RU" sz="1600" dirty="0">
              <a:solidFill>
                <a:srgbClr val="1F4E79"/>
              </a:solidFill>
            </a:endParaRP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ступают в МБ: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ступления денег от </a:t>
            </a:r>
            <a:r>
              <a:rPr lang="ru-RU" altLang="ru-RU" sz="16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латы за негативное воздействие на окружающую среду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от недропользователей на социально-экономическое развитие региона, развитие его инфраструктуры</a:t>
            </a:r>
          </a:p>
          <a:p>
            <a:pPr marL="599002" lvl="1" indent="-245527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ополнительно предлагается отчислять: </a:t>
            </a:r>
          </a:p>
          <a:p>
            <a:pPr marL="1292739" lvl="2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›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РБ: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тчисления недропользователей на научно-исследовательские, научно-технические и опытно-конструкторские работы на территории РК;</a:t>
            </a:r>
          </a:p>
          <a:p>
            <a:pPr marL="1292739" lvl="2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›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МБ: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тчисления недропользователей на финансирование обучения казахстанских кадров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3.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ОДОТЧЕТНОСТЬ 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ДОХОДНОЙ ЧАСТИ БЮДЖЕТ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73900" y="573575"/>
            <a:ext cx="11829718" cy="369332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algn="ctr" defTabSz="119924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ЛНЫЙ учет доходов бюджета </a:t>
            </a:r>
          </a:p>
        </p:txBody>
      </p:sp>
    </p:spTree>
    <p:extLst>
      <p:ext uri="{BB962C8B-B14F-4D97-AF65-F5344CB8AC3E}">
        <p14:creationId xmlns:p14="http://schemas.microsoft.com/office/powerpoint/2010/main" val="1624567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44779" y="1012157"/>
            <a:ext cx="11978218" cy="5117952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tabLst/>
              <a:defRPr/>
            </a:pPr>
            <a:r>
              <a:rPr kumimoji="0" lang="ru-RU" altLang="ru-RU" sz="1800" b="1" i="0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РЕДЛАГАЕТСЯ:</a:t>
            </a:r>
          </a:p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tabLst/>
              <a:defRPr/>
            </a:pPr>
            <a:endParaRPr kumimoji="0" lang="ru-RU" altLang="ru-RU" sz="800" b="1" i="0" u="sng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ПРИВЯЗКА БЮДЖЕТА </a:t>
            </a:r>
            <a:r>
              <a:rPr lang="ru-RU" altLang="ru-RU" sz="1600" dirty="0">
                <a:solidFill>
                  <a:srgbClr val="1F4E79"/>
                </a:solidFill>
              </a:rPr>
              <a:t>только к ПЛАНУ РАЗВИТИЯ региона с составлением инвестиционного плана на базе минимальных стандартов и системы региональных стандартов</a:t>
            </a:r>
          </a:p>
          <a:p>
            <a:pPr marL="0" indent="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defRPr/>
            </a:pPr>
            <a:endParaRPr lang="ru-RU" altLang="ru-RU" sz="1600" b="1" dirty="0">
              <a:solidFill>
                <a:srgbClr val="1F4E79"/>
              </a:solidFill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sym typeface="Arial" panose="020B0604020202020204" pitchFamily="34" charset="0"/>
              </a:rPr>
              <a:t>ПО ДОХОДАМ: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дача</a:t>
            </a:r>
            <a:r>
              <a:rPr kumimoji="0" lang="ru-RU" altLang="ru-RU" sz="1600" b="1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 </a:t>
            </a:r>
            <a:r>
              <a:rPr kumimoji="0" lang="ru-RU" altLang="ru-RU" sz="160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отдельных поступлений в местные бюджеты</a:t>
            </a:r>
            <a:endParaRPr kumimoji="0" lang="ru-RU" altLang="ru-RU" sz="16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пересмотр функций </a:t>
            </a:r>
            <a:r>
              <a:rPr kumimoji="0" lang="ru-RU" altLang="ru-RU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между уровнями госуправления (адмреформа)</a:t>
            </a:r>
          </a:p>
          <a:p>
            <a:pPr marL="920727" marR="0" lvl="1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tabLst/>
              <a:defRPr/>
            </a:pPr>
            <a:endParaRPr kumimoji="0" lang="ru-RU" altLang="ru-RU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sym typeface="Arial" panose="020B0604020202020204" pitchFamily="34" charset="0"/>
              </a:rPr>
              <a:t>ПО РАСХОДАМ: 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менение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системы региональных стандартов при планировании и мониторинге уровня жизни в регионах 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евизия НПА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сфере базовых нормативов (сетей)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оритетное финансирование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ачатых проектов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ыделение целевых трансфертов на развитие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олько на критическую инфраструктуру и проекты общестранового значения 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ведение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лидарной ответственности ЦГО и МИО за достижение результатов от использования ЦТР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силение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роли ревизионных комиссий при рассмотрении местных бюдже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4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.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МЕЖБЮДЖЕТНЫЕ ОТНОШЕНИЯ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61" y="635928"/>
            <a:ext cx="11739457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НИЖЕНИЕ диспропорции в региональном развитии </a:t>
            </a:r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160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47245" y="-28409"/>
            <a:ext cx="11942994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4.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ЖБЮДЖЕТНЫЕ ОТНОШЕНИЯ – </a:t>
            </a:r>
            <a:r>
              <a:rPr lang="ru-RU" sz="22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проект инвестиционного плана МИИР/области</a:t>
            </a:r>
          </a:p>
        </p:txBody>
      </p:sp>
      <p:cxnSp>
        <p:nvCxnSpPr>
          <p:cNvPr id="20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1" y="337280"/>
            <a:ext cx="1225137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8581" y="315538"/>
            <a:ext cx="120501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Концепция развития транспортно-логистического потенциала Республики Казахстан до 2030 год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765563" y="1075134"/>
            <a:ext cx="1845015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стная сеть</a:t>
            </a:r>
          </a:p>
          <a:p>
            <a:pPr defTabSz="1219170" fontAlgn="t">
              <a:buClr>
                <a:srgbClr val="000000"/>
              </a:buClr>
              <a:defRPr/>
            </a:pPr>
            <a:r>
              <a:rPr lang="ru-RU" sz="3733" b="1" kern="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1,0 </a:t>
            </a:r>
            <a:endParaRPr lang="ru-RU" sz="1200" b="1" kern="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744" y="562668"/>
            <a:ext cx="33618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400" b="1" kern="0" dirty="0">
                <a:solidFill>
                  <a:srgbClr val="70AD47">
                    <a:lumMod val="50000"/>
                  </a:srgbClr>
                </a:solidFill>
                <a:latin typeface="Arial"/>
                <a:cs typeface="Arial"/>
                <a:sym typeface="Arial"/>
              </a:rPr>
              <a:t>Целевые индикаторы до 2030 года: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9744" y="823145"/>
            <a:ext cx="1240082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 defTabSz="1219170" fontAlgn="t">
              <a:buClr>
                <a:srgbClr val="44546A"/>
              </a:buClr>
              <a:buFont typeface="Arial" panose="020B0604020202020204" pitchFamily="34" charset="0"/>
              <a:buChar char="•"/>
              <a:defRPr/>
            </a:pPr>
            <a:r>
              <a:rPr lang="ru-RU" sz="1333" b="1" kern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иведение и содержание не менее 95% сети автодорог областного </a:t>
            </a:r>
            <a:r>
              <a:rPr lang="ru-RU" sz="1333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</a:t>
            </a:r>
            <a:r>
              <a:rPr lang="ru-RU" sz="1333" b="1" kern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районного значения </a:t>
            </a:r>
            <a:r>
              <a:rPr lang="ru-RU" sz="1333" b="1" u="sng" kern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нормативном техническом состояни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6721" y="1523423"/>
            <a:ext cx="364180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kk-KZ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86</a:t>
            </a:r>
            <a:r>
              <a:rPr lang="ru-RU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%     87%     88%           </a:t>
            </a:r>
            <a:r>
              <a:rPr lang="ru-RU" sz="2133" b="1" kern="0" dirty="0">
                <a:solidFill>
                  <a:srgbClr val="70AD47">
                    <a:lumMod val="50000"/>
                  </a:srgbClr>
                </a:solidFill>
                <a:latin typeface="Arial"/>
                <a:cs typeface="Arial"/>
                <a:sym typeface="Arial"/>
              </a:rPr>
              <a:t>95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2578" y="1102186"/>
            <a:ext cx="418817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ru-RU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2023 г. 2024 г. 2025 г.       2030 г.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4259286" y="1801967"/>
            <a:ext cx="1067921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867" b="1" kern="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ыс. км</a:t>
            </a:r>
            <a:endParaRPr lang="ru-RU" sz="1200" b="1" kern="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>
            <p:extLst/>
          </p:nvPr>
        </p:nvGraphicFramePr>
        <p:xfrm>
          <a:off x="5422591" y="1067688"/>
          <a:ext cx="6538207" cy="5770203"/>
        </p:xfrm>
        <a:graphic>
          <a:graphicData uri="http://schemas.openxmlformats.org/drawingml/2006/table">
            <a:tbl>
              <a:tblPr/>
              <a:tblGrid>
                <a:gridCol w="677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89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15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99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42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424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424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49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281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7288">
                <a:tc>
                  <a:txBody>
                    <a:bodyPr/>
                    <a:lstStyle/>
                    <a:p>
                      <a:pPr marL="0" marR="0" indent="0" algn="ctr" defTabSz="68542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№ </a:t>
                      </a:r>
                      <a:r>
                        <a:rPr lang="ru-RU" sz="1000" b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</a:t>
                      </a: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000" b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</a:t>
                      </a:r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аименование областей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68542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ть,</a:t>
                      </a:r>
                      <a:b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м</a:t>
                      </a:r>
                    </a:p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3 г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4 г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5 г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443">
                <a:tc rowSpan="2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8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4048" marR="4048" marT="404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из них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в неудов сост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в хор сост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в удов сост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9889366"/>
                  </a:ext>
                </a:extLst>
              </a:tr>
              <a:tr h="234122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8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4048" marR="4048" marT="404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4F81BD"/>
                          </a:solidFill>
                          <a:latin typeface="Arial"/>
                        </a:rPr>
                        <a:t>Атырауская: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44546A"/>
                          </a:solidFill>
                          <a:latin typeface="Arial"/>
                        </a:rPr>
                        <a:t>1 92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бластные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3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Районные, из них: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0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Махамбет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44546A"/>
                          </a:solidFill>
                          <a:latin typeface="Arial"/>
                        </a:rPr>
                        <a:t>10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Индер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44546A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Макат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Исатай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Курмангазин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44546A"/>
                          </a:solidFill>
                          <a:latin typeface="Arial"/>
                        </a:rPr>
                        <a:t>18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Кызылкогинский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44546A"/>
                          </a:solidFill>
                          <a:latin typeface="Arial"/>
                        </a:rPr>
                        <a:t>14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Жылыой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3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>
                          <a:solidFill>
                            <a:srgbClr val="4F81BD"/>
                          </a:solidFill>
                          <a:latin typeface="Arial"/>
                        </a:rPr>
                        <a:t>Туркестанская: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5 75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Областные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 03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7288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Районные, из них: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72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Байдибек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Казыгурт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298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Мактаараль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Жетысай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Ордабасинский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Отырар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айрам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4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арыагаш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Келес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3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озак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7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олебий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3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Тюлькубасский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Шардарин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Сауранский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9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г.Арыс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74348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г.Кентау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</a:tbl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166720" y="3681341"/>
            <a:ext cx="5319680" cy="338554"/>
          </a:xfrm>
          <a:prstGeom prst="rect">
            <a:avLst/>
          </a:prstGeom>
          <a:noFill/>
          <a:ln w="31750" cmpd="dbl">
            <a:solidFill>
              <a:schemeClr val="accent5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Карта приоритетных и проблемных зон</a:t>
            </a:r>
          </a:p>
        </p:txBody>
      </p:sp>
      <p:sp>
        <p:nvSpPr>
          <p:cNvPr id="36" name="Стрелка вправо 35"/>
          <p:cNvSpPr/>
          <p:nvPr/>
        </p:nvSpPr>
        <p:spPr>
          <a:xfrm rot="5400000">
            <a:off x="2745712" y="3247021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55859" y="6261376"/>
            <a:ext cx="420884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Охват всех населенных пунктов круглогодичным безопасным автосообщением</a:t>
            </a:r>
          </a:p>
        </p:txBody>
      </p:sp>
      <p:sp>
        <p:nvSpPr>
          <p:cNvPr id="43" name="Стрелка вправо 42"/>
          <p:cNvSpPr/>
          <p:nvPr/>
        </p:nvSpPr>
        <p:spPr>
          <a:xfrm rot="5400000">
            <a:off x="2682041" y="4454728"/>
            <a:ext cx="137116" cy="6558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Стрелка вправо 47"/>
          <p:cNvSpPr/>
          <p:nvPr/>
        </p:nvSpPr>
        <p:spPr>
          <a:xfrm rot="5400000">
            <a:off x="2673345" y="5059450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06043" y="4787421"/>
            <a:ext cx="4933244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Пересмотр нормативов финансирования с отходом от практики применения базовых расценок 2001 года</a:t>
            </a:r>
          </a:p>
        </p:txBody>
      </p:sp>
      <p:sp>
        <p:nvSpPr>
          <p:cNvPr id="50" name="Стрелка вправо 49"/>
          <p:cNvSpPr/>
          <p:nvPr/>
        </p:nvSpPr>
        <p:spPr>
          <a:xfrm rot="5400000">
            <a:off x="2701444" y="5884434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0" y="5405084"/>
            <a:ext cx="5486400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Увеличение протяженности автодорог областного и районного значения, соответствующих требованиям ТР ТС 014/2011 "Безопасность автомобильных дорог"</a:t>
            </a:r>
          </a:p>
        </p:txBody>
      </p:sp>
      <p:sp>
        <p:nvSpPr>
          <p:cNvPr id="52" name="Стрелка вправо 51"/>
          <p:cNvSpPr/>
          <p:nvPr/>
        </p:nvSpPr>
        <p:spPr>
          <a:xfrm flipH="1">
            <a:off x="5407196" y="4423857"/>
            <a:ext cx="234499" cy="671427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/>
        </p:nvGraphicFramePr>
        <p:xfrm>
          <a:off x="166722" y="2338719"/>
          <a:ext cx="5319679" cy="11277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2783">
                  <a:extLst>
                    <a:ext uri="{9D8B030D-6E8A-4147-A177-3AD203B41FA5}">
                      <a16:colId xmlns:a16="http://schemas.microsoft.com/office/drawing/2014/main" val="3351931638"/>
                    </a:ext>
                  </a:extLst>
                </a:gridCol>
                <a:gridCol w="1408431">
                  <a:extLst>
                    <a:ext uri="{9D8B030D-6E8A-4147-A177-3AD203B41FA5}">
                      <a16:colId xmlns:a16="http://schemas.microsoft.com/office/drawing/2014/main" val="41051876"/>
                    </a:ext>
                  </a:extLst>
                </a:gridCol>
                <a:gridCol w="1262725">
                  <a:extLst>
                    <a:ext uri="{9D8B030D-6E8A-4147-A177-3AD203B41FA5}">
                      <a16:colId xmlns:a16="http://schemas.microsoft.com/office/drawing/2014/main" val="682430078"/>
                    </a:ext>
                  </a:extLst>
                </a:gridCol>
                <a:gridCol w="1325740">
                  <a:extLst>
                    <a:ext uri="{9D8B030D-6E8A-4147-A177-3AD203B41FA5}">
                      <a16:colId xmlns:a16="http://schemas.microsoft.com/office/drawing/2014/main" val="2644210099"/>
                    </a:ext>
                  </a:extLst>
                </a:gridCol>
              </a:tblGrid>
              <a:tr h="162560">
                <a:tc gridSpan="4"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стная автодорожная инфраструктура, данные 2021 г.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9805933"/>
                  </a:ext>
                </a:extLst>
              </a:tr>
              <a:tr h="162560"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ветствует нормативным требования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неудовлетв-м</a:t>
                      </a:r>
                      <a:endParaRPr lang="en-US" sz="1100" b="1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оянии</a:t>
                      </a:r>
                    </a:p>
                    <a:p>
                      <a:pPr algn="ctr" fontAlgn="t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069577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1100" b="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рошем состояни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овлетв-м</a:t>
                      </a:r>
                      <a:endParaRPr lang="en-US" sz="1100" b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оянии</a:t>
                      </a: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04009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900" b="1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6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618452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 marL="0" algn="ctr" defTabSz="685426" rtl="0" eaLnBrk="1" fontAlgn="t" latinLnBrk="0" hangingPunct="1"/>
                      <a:r>
                        <a:rPr lang="ru-RU" sz="11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254240092"/>
                  </a:ext>
                </a:extLst>
              </a:tr>
            </a:tbl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6033399" y="1234739"/>
            <a:ext cx="5764378" cy="5603151"/>
            <a:chOff x="6131373" y="1234739"/>
            <a:chExt cx="5764378" cy="5603151"/>
          </a:xfrm>
        </p:grpSpPr>
        <p:sp>
          <p:nvSpPr>
            <p:cNvPr id="33" name="TextBox 32"/>
            <p:cNvSpPr txBox="1"/>
            <p:nvPr/>
          </p:nvSpPr>
          <p:spPr>
            <a:xfrm>
              <a:off x="10175701" y="1234739"/>
              <a:ext cx="595463" cy="5603151"/>
            </a:xfrm>
            <a:prstGeom prst="rect">
              <a:avLst/>
            </a:prstGeom>
            <a:noFill/>
            <a:ln w="31750" cmpd="dbl">
              <a:solidFill>
                <a:schemeClr val="accent5"/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 rot="16200000">
              <a:off x="8914939" y="-378319"/>
              <a:ext cx="186358" cy="5753489"/>
            </a:xfrm>
            <a:prstGeom prst="rect">
              <a:avLst/>
            </a:prstGeom>
            <a:noFill/>
            <a:ln w="19050">
              <a:solidFill>
                <a:srgbClr val="00B0F0"/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 rot="16200000">
              <a:off x="8926558" y="467867"/>
              <a:ext cx="184894" cy="5753488"/>
            </a:xfrm>
            <a:prstGeom prst="rect">
              <a:avLst/>
            </a:prstGeom>
            <a:noFill/>
            <a:ln w="19050">
              <a:solidFill>
                <a:srgbClr val="00B0F0"/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 rot="16200000">
              <a:off x="8925001" y="1519657"/>
              <a:ext cx="188008" cy="5753492"/>
            </a:xfrm>
            <a:prstGeom prst="rect">
              <a:avLst/>
            </a:prstGeom>
            <a:noFill/>
            <a:ln w="19050">
              <a:solidFill>
                <a:srgbClr val="00B0F0"/>
              </a:solidFill>
              <a:prstDash val="solid"/>
            </a:ln>
          </p:spPr>
          <p:txBody>
            <a:bodyPr wrap="square" rtlCol="0">
              <a:spAutoFit/>
            </a:bodyPr>
            <a:lstStyle/>
            <a:p>
              <a:pPr defTabSz="1219170">
                <a:buClr>
                  <a:srgbClr val="000000"/>
                </a:buClr>
                <a:defRPr/>
              </a:pPr>
              <a:endPara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406043" y="4169759"/>
            <a:ext cx="4933244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Планирование на базе </a:t>
            </a:r>
            <a:r>
              <a:rPr lang="ru-RU" sz="1333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минимальных стандартов</a:t>
            </a: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включая системы региональных стандартов </a:t>
            </a:r>
          </a:p>
        </p:txBody>
      </p:sp>
    </p:spTree>
    <p:extLst>
      <p:ext uri="{BB962C8B-B14F-4D97-AF65-F5344CB8AC3E}">
        <p14:creationId xmlns:p14="http://schemas.microsoft.com/office/powerpoint/2010/main" val="359012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459" name="Прямоугольник 3"/>
          <p:cNvSpPr>
            <a:spLocks noChangeArrowheads="1"/>
          </p:cNvSpPr>
          <p:nvPr/>
        </p:nvSpPr>
        <p:spPr bwMode="auto">
          <a:xfrm>
            <a:off x="50799" y="54790"/>
            <a:ext cx="11988801" cy="46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77" tIns="60939" rIns="121877" bIns="60939"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2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 panose="020B0604020202020204" pitchFamily="34" charset="0"/>
              </a:rPr>
              <a:t>СОВЕРШЕНСТВОВАНИЕ</a:t>
            </a:r>
            <a:r>
              <a:rPr lang="ru-RU" altLang="en-US" sz="22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 panose="020B0604020202020204" pitchFamily="34" charset="0"/>
              </a:rPr>
              <a:t> нормативной базы для планирования/исполнения бюджета</a:t>
            </a:r>
          </a:p>
        </p:txBody>
      </p:sp>
      <p:grpSp>
        <p:nvGrpSpPr>
          <p:cNvPr id="147460" name="Группа 40"/>
          <p:cNvGrpSpPr>
            <a:grpSpLocks/>
          </p:cNvGrpSpPr>
          <p:nvPr/>
        </p:nvGrpSpPr>
        <p:grpSpPr bwMode="auto">
          <a:xfrm>
            <a:off x="135467" y="559341"/>
            <a:ext cx="11904133" cy="6194674"/>
            <a:chOff x="83527" y="372826"/>
            <a:chExt cx="11741691" cy="6195938"/>
          </a:xfrm>
        </p:grpSpPr>
        <p:sp>
          <p:nvSpPr>
            <p:cNvPr id="147461" name="Прямоугольник 2"/>
            <p:cNvSpPr>
              <a:spLocks noChangeArrowheads="1"/>
            </p:cNvSpPr>
            <p:nvPr/>
          </p:nvSpPr>
          <p:spPr bwMode="auto">
            <a:xfrm>
              <a:off x="3208939" y="4869243"/>
              <a:ext cx="8616279" cy="574505"/>
            </a:xfrm>
            <a:prstGeom prst="rect">
              <a:avLst/>
            </a:prstGeom>
            <a:solidFill>
              <a:srgbClr val="FFFFFF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Актуализация методики СРС – </a:t>
              </a:r>
            </a:p>
            <a:p>
              <a:pPr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467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ониторинг и оценка уровня обеспеченности услугами и благами в регионах </a:t>
              </a:r>
            </a:p>
          </p:txBody>
        </p:sp>
        <p:sp>
          <p:nvSpPr>
            <p:cNvPr id="147462" name="TextBox 5"/>
            <p:cNvSpPr txBox="1">
              <a:spLocks noChangeArrowheads="1"/>
            </p:cNvSpPr>
            <p:nvPr/>
          </p:nvSpPr>
          <p:spPr bwMode="auto">
            <a:xfrm>
              <a:off x="83527" y="372826"/>
              <a:ext cx="1799669" cy="831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kk-KZ" altLang="en-US" sz="16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недрение </a:t>
              </a:r>
            </a:p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kk-KZ" altLang="en-US" sz="16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 бюджетный процесс</a:t>
              </a:r>
              <a:r>
                <a:rPr lang="ru-RU" altLang="en-US" sz="16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: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762104" y="558828"/>
              <a:ext cx="10063114" cy="4102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lIns="121681" tIns="60840" rIns="121681" bIns="60840">
              <a:spAutoFit/>
            </a:bodyPr>
            <a:lstStyle>
              <a:lvl1pPr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Font typeface="Arial" panose="020B0604020202020204" pitchFamily="34" charset="0"/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r>
                <a:rPr lang="kk-KZ" altLang="en-US" sz="1867" b="1">
                  <a:solidFill>
                    <a:srgbClr val="44546A"/>
                  </a:solidFill>
                </a:rPr>
                <a:t>МИНИМАЛЬНЫЕ СТАНДАРТЫ</a:t>
              </a:r>
              <a:endParaRPr lang="kk-KZ" altLang="en-US" sz="1600" b="1">
                <a:solidFill>
                  <a:srgbClr val="44546A"/>
                </a:solidFill>
              </a:endParaRPr>
            </a:p>
          </p:txBody>
        </p:sp>
        <p:sp>
          <p:nvSpPr>
            <p:cNvPr id="147464" name="Прямоугольник 9"/>
            <p:cNvSpPr>
              <a:spLocks noChangeArrowheads="1"/>
            </p:cNvSpPr>
            <p:nvPr/>
          </p:nvSpPr>
          <p:spPr bwMode="auto">
            <a:xfrm>
              <a:off x="1652823" y="935441"/>
              <a:ext cx="9977515" cy="543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467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инимальный объем</a:t>
              </a: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 услуг, денежных выплат и иных требований, установленных законами РК, </a:t>
              </a:r>
              <a:b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беспечивающий реализацию гарантий и прав</a:t>
              </a:r>
            </a:p>
          </p:txBody>
        </p:sp>
        <p:sp>
          <p:nvSpPr>
            <p:cNvPr id="147465" name="Прямоугольник 10"/>
            <p:cNvSpPr>
              <a:spLocks noChangeArrowheads="1"/>
            </p:cNvSpPr>
            <p:nvPr/>
          </p:nvSpPr>
          <p:spPr bwMode="auto">
            <a:xfrm>
              <a:off x="91878" y="1814269"/>
              <a:ext cx="2526217" cy="102613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истема минимальных социальных стандартов </a:t>
              </a:r>
            </a:p>
          </p:txBody>
        </p:sp>
        <p:sp>
          <p:nvSpPr>
            <p:cNvPr id="147466" name="TextBox 11"/>
            <p:cNvSpPr txBox="1">
              <a:spLocks noChangeArrowheads="1"/>
            </p:cNvSpPr>
            <p:nvPr/>
          </p:nvSpPr>
          <p:spPr bwMode="auto">
            <a:xfrm>
              <a:off x="87703" y="2936332"/>
              <a:ext cx="2530393" cy="170357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истема минимальных стандартов инженерно-коммуникационной, транспортной инфраструктур </a:t>
              </a:r>
            </a:p>
          </p:txBody>
        </p:sp>
        <p:sp>
          <p:nvSpPr>
            <p:cNvPr id="147467" name="TextBox 12"/>
            <p:cNvSpPr txBox="1">
              <a:spLocks noChangeArrowheads="1"/>
            </p:cNvSpPr>
            <p:nvPr/>
          </p:nvSpPr>
          <p:spPr bwMode="auto">
            <a:xfrm>
              <a:off x="83527" y="1454362"/>
              <a:ext cx="10344965" cy="3386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600" b="1" dirty="0">
                  <a:solidFill>
                    <a:srgbClr val="4454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ормативное обеспечение планирования и использования бюджетных средств</a:t>
              </a:r>
              <a:r>
                <a:rPr lang="ru-RU" altLang="en-US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:</a:t>
              </a:r>
              <a:endParaRPr lang="ru-RU" altLang="en-US" sz="16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Правая фигурная скобка 13"/>
            <p:cNvSpPr/>
            <p:nvPr/>
          </p:nvSpPr>
          <p:spPr>
            <a:xfrm>
              <a:off x="2657764" y="1780396"/>
              <a:ext cx="311079" cy="3730329"/>
            </a:xfrm>
            <a:prstGeom prst="rightBrace">
              <a:avLst/>
            </a:prstGeom>
            <a:ln w="22225" cmpd="sng">
              <a:solidFill>
                <a:schemeClr val="bg1">
                  <a:lumMod val="6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defTabSz="913901">
                <a:defRPr/>
              </a:pPr>
              <a:endParaRPr lang="ru-RU" sz="1867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147469" name="TextBox 17"/>
            <p:cNvSpPr txBox="1">
              <a:spLocks noChangeArrowheads="1"/>
            </p:cNvSpPr>
            <p:nvPr/>
          </p:nvSpPr>
          <p:spPr bwMode="auto">
            <a:xfrm>
              <a:off x="3004336" y="2254626"/>
              <a:ext cx="2375897" cy="2381009"/>
            </a:xfrm>
            <a:prstGeom prst="rect">
              <a:avLst/>
            </a:prstGeom>
            <a:solidFill>
              <a:srgbClr val="FFFFFF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роведение анализа и ревизии*:</a:t>
              </a:r>
            </a:p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›"/>
              </a:pPr>
              <a:r>
                <a:rPr lang="ru-RU" altLang="en-US" sz="1467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ПА в сфере базовых нормативов (сетей) </a:t>
              </a: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 социальной, инженерно-коммуникационной, транспортной и иной инфраструктуры</a:t>
              </a:r>
            </a:p>
          </p:txBody>
        </p:sp>
        <p:sp>
          <p:nvSpPr>
            <p:cNvPr id="147470" name="TextBox 24"/>
            <p:cNvSpPr txBox="1">
              <a:spLocks noChangeArrowheads="1"/>
            </p:cNvSpPr>
            <p:nvPr/>
          </p:nvSpPr>
          <p:spPr bwMode="auto">
            <a:xfrm>
              <a:off x="2927087" y="1834997"/>
              <a:ext cx="2751698" cy="379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8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февраль-май 2023 г</a:t>
              </a:r>
            </a:p>
          </p:txBody>
        </p:sp>
        <p:sp>
          <p:nvSpPr>
            <p:cNvPr id="147471" name="Стрелка вниз 25"/>
            <p:cNvSpPr>
              <a:spLocks noChangeArrowheads="1"/>
            </p:cNvSpPr>
            <p:nvPr/>
          </p:nvSpPr>
          <p:spPr bwMode="auto">
            <a:xfrm rot="-5400000">
              <a:off x="5193934" y="3071204"/>
              <a:ext cx="673238" cy="212954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1" tIns="45705" rIns="91411" bIns="45705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endParaRPr lang="ru-RU" altLang="en-US" sz="2400">
                <a:solidFill>
                  <a:srgbClr val="FFFFFF"/>
                </a:solidFill>
              </a:endParaRPr>
            </a:p>
          </p:txBody>
        </p:sp>
        <p:sp>
          <p:nvSpPr>
            <p:cNvPr id="147472" name="Прямоугольник 26"/>
            <p:cNvSpPr>
              <a:spLocks noChangeArrowheads="1"/>
            </p:cNvSpPr>
            <p:nvPr/>
          </p:nvSpPr>
          <p:spPr bwMode="auto">
            <a:xfrm>
              <a:off x="5678785" y="2161473"/>
              <a:ext cx="3302873" cy="2606823"/>
            </a:xfrm>
            <a:prstGeom prst="rect">
              <a:avLst/>
            </a:prstGeom>
            <a:solidFill>
              <a:srgbClr val="FFFFFF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зработка проекта*:</a:t>
              </a:r>
            </a:p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›"/>
              </a:pPr>
              <a:r>
                <a:rPr lang="ru-RU" altLang="en-US" sz="1467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правил по регулированию общественных отношений</a:t>
              </a: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, возникающих в системе минимальных базовых стандартов в социальной, инженерно-коммуникационной, транспортной и иной инфраструктуры </a:t>
              </a:r>
            </a:p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›"/>
              </a:pPr>
              <a:r>
                <a:rPr lang="ru-RU" altLang="en-US" sz="1467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типовой формы </a:t>
              </a: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инимальных базовых стандартов</a:t>
              </a:r>
            </a:p>
          </p:txBody>
        </p:sp>
        <p:sp>
          <p:nvSpPr>
            <p:cNvPr id="147473" name="TextBox 27"/>
            <p:cNvSpPr txBox="1">
              <a:spLocks noChangeArrowheads="1"/>
            </p:cNvSpPr>
            <p:nvPr/>
          </p:nvSpPr>
          <p:spPr bwMode="auto">
            <a:xfrm>
              <a:off x="5637029" y="1774043"/>
              <a:ext cx="2751698" cy="379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867" b="1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ай-сентябрь 2023 г</a:t>
              </a:r>
            </a:p>
          </p:txBody>
        </p:sp>
        <p:sp>
          <p:nvSpPr>
            <p:cNvPr id="147474" name="Стрелка вниз 28"/>
            <p:cNvSpPr>
              <a:spLocks noChangeArrowheads="1"/>
            </p:cNvSpPr>
            <p:nvPr/>
          </p:nvSpPr>
          <p:spPr bwMode="auto">
            <a:xfrm rot="-5400000">
              <a:off x="8813092" y="3040505"/>
              <a:ext cx="675354" cy="212954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1" tIns="45705" rIns="91411" bIns="45705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endParaRPr lang="ru-RU" altLang="en-US" sz="2400">
                <a:solidFill>
                  <a:srgbClr val="FFFFFF"/>
                </a:solidFill>
              </a:endParaRPr>
            </a:p>
          </p:txBody>
        </p:sp>
        <p:sp>
          <p:nvSpPr>
            <p:cNvPr id="147475" name="Прямоугольник 29"/>
            <p:cNvSpPr>
              <a:spLocks noChangeArrowheads="1"/>
            </p:cNvSpPr>
            <p:nvPr/>
          </p:nvSpPr>
          <p:spPr bwMode="auto">
            <a:xfrm>
              <a:off x="9257245" y="2254626"/>
              <a:ext cx="2567973" cy="1929384"/>
            </a:xfrm>
            <a:prstGeom prst="rect">
              <a:avLst/>
            </a:prstGeom>
            <a:solidFill>
              <a:srgbClr val="FFFFFF"/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Разработка проектов:</a:t>
              </a:r>
            </a:p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›"/>
              </a:pPr>
              <a: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методик расчетов расходов бюджета развития по отраслям </a:t>
              </a:r>
              <a:b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ru-RU" altLang="en-US" sz="1467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а базе минимальных стандартов и планов развития (дорога, вода, теплоснабжение и др.)</a:t>
              </a:r>
            </a:p>
          </p:txBody>
        </p:sp>
        <p:sp>
          <p:nvSpPr>
            <p:cNvPr id="147476" name="TextBox 30"/>
            <p:cNvSpPr txBox="1">
              <a:spLocks noChangeArrowheads="1"/>
            </p:cNvSpPr>
            <p:nvPr/>
          </p:nvSpPr>
          <p:spPr bwMode="auto">
            <a:xfrm>
              <a:off x="9248894" y="1829088"/>
              <a:ext cx="2004272" cy="3797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8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024 год</a:t>
              </a:r>
            </a:p>
          </p:txBody>
        </p:sp>
        <p:sp>
          <p:nvSpPr>
            <p:cNvPr id="147477" name="TextBox 32"/>
            <p:cNvSpPr txBox="1">
              <a:spLocks noChangeArrowheads="1"/>
            </p:cNvSpPr>
            <p:nvPr/>
          </p:nvSpPr>
          <p:spPr bwMode="auto">
            <a:xfrm>
              <a:off x="83527" y="4653299"/>
              <a:ext cx="2526217" cy="8003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lIns="121668" tIns="60833" rIns="121668" bIns="60833">
              <a:spAutoFit/>
            </a:bodyPr>
            <a:lstStyle>
              <a:lvl1pPr marL="212725" indent="-212725"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3626" indent="-283626" defTabSz="91861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rgbClr val="5B9BD5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истема региональных стандартов (СРС)</a:t>
              </a:r>
            </a:p>
          </p:txBody>
        </p:sp>
        <p:sp>
          <p:nvSpPr>
            <p:cNvPr id="147478" name="Стрелка вниз 34"/>
            <p:cNvSpPr>
              <a:spLocks noChangeArrowheads="1"/>
            </p:cNvSpPr>
            <p:nvPr/>
          </p:nvSpPr>
          <p:spPr bwMode="auto">
            <a:xfrm rot="16200000">
              <a:off x="2751214" y="5066571"/>
              <a:ext cx="675354" cy="212954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1" tIns="45705" rIns="91411" bIns="45705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endParaRPr lang="ru-RU" altLang="en-US" sz="2400">
                <a:solidFill>
                  <a:srgbClr val="FFFFFF"/>
                </a:solidFill>
              </a:endParaRPr>
            </a:p>
          </p:txBody>
        </p:sp>
        <p:sp>
          <p:nvSpPr>
            <p:cNvPr id="147479" name="Прямоугольник 35"/>
            <p:cNvSpPr>
              <a:spLocks noChangeArrowheads="1"/>
            </p:cNvSpPr>
            <p:nvPr/>
          </p:nvSpPr>
          <p:spPr bwMode="auto">
            <a:xfrm>
              <a:off x="83527" y="5614462"/>
              <a:ext cx="7190324" cy="9543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55588" indent="-255588"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340775" indent="-340775"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Обеспечение бесперебойной деятельности систем жизнеобеспечения </a:t>
              </a:r>
              <a:br>
                <a:rPr lang="ru-RU" alt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</a:br>
              <a:r>
                <a:rPr lang="ru-RU" alt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в разрезе соответствующих административно-территориальных единиц</a:t>
              </a:r>
            </a:p>
            <a:p>
              <a:pPr marL="340775" indent="-340775"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Сокращение разрывов в доступе к государственным услугам и благам между регионами</a:t>
              </a:r>
            </a:p>
          </p:txBody>
        </p:sp>
        <p:sp>
          <p:nvSpPr>
            <p:cNvPr id="147480" name="TextBox 39"/>
            <p:cNvSpPr txBox="1">
              <a:spLocks noChangeArrowheads="1"/>
            </p:cNvSpPr>
            <p:nvPr/>
          </p:nvSpPr>
          <p:spPr bwMode="auto">
            <a:xfrm>
              <a:off x="7273851" y="5553067"/>
              <a:ext cx="4543016" cy="8210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4213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4213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4213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defTabSz="912261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en-US" sz="18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*</a:t>
              </a:r>
              <a:r>
                <a:rPr lang="ru-RU" altLang="en-US" sz="1467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На базе АО «ИЭИ» МНЭ совместно с АБП  поводится работа </a:t>
              </a:r>
              <a:r>
                <a:rPr lang="ru-RU" altLang="en-US" sz="1467" i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(заложено исследование через госзадание на 2023 год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881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 flipV="1">
            <a:off x="1471801" y="5922175"/>
            <a:ext cx="4517945" cy="413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3563905" y="582552"/>
            <a:ext cx="4792846" cy="8105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endParaRPr lang="kk-KZ" altLang="en-US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199243"/>
            <a:r>
              <a:rPr lang="kk-KZ" altLang="en-US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Ы ОБЩЕГО ХАРАКТЕРА</a:t>
            </a:r>
          </a:p>
          <a:p>
            <a:pPr algn="ctr" defTabSz="1199243"/>
            <a:endParaRPr lang="kk-KZ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Левая фигурная скобка 6"/>
          <p:cNvSpPr/>
          <p:nvPr/>
        </p:nvSpPr>
        <p:spPr>
          <a:xfrm rot="5400000">
            <a:off x="5856646" y="-1755928"/>
            <a:ext cx="190745" cy="6767185"/>
          </a:xfrm>
          <a:prstGeom prst="leftBrac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00254"/>
            <a:endParaRPr lang="ru-RU" sz="24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Прямоугольник 6"/>
          <p:cNvSpPr>
            <a:spLocks noChangeArrowheads="1"/>
          </p:cNvSpPr>
          <p:nvPr/>
        </p:nvSpPr>
        <p:spPr bwMode="auto">
          <a:xfrm>
            <a:off x="624658" y="1773199"/>
            <a:ext cx="4031515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r>
              <a:rPr lang="kk-KZ" altLang="en-US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ЕЦЕЛЕВОЙ ТОХ</a:t>
            </a:r>
            <a:endParaRPr lang="ru-RU" altLang="ru-RU" sz="16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Прямоугольник 6"/>
          <p:cNvSpPr>
            <a:spLocks noChangeArrowheads="1"/>
          </p:cNvSpPr>
          <p:nvPr/>
        </p:nvSpPr>
        <p:spPr bwMode="auto">
          <a:xfrm>
            <a:off x="7103879" y="1773199"/>
            <a:ext cx="4058768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r>
              <a:rPr lang="kk-KZ" altLang="en-US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ОЙ ТОХ (Целевые)</a:t>
            </a:r>
            <a:endParaRPr lang="ru-RU" altLang="ru-RU" sz="16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bject 2"/>
          <p:cNvSpPr txBox="1">
            <a:spLocks/>
          </p:cNvSpPr>
          <p:nvPr/>
        </p:nvSpPr>
        <p:spPr bwMode="auto">
          <a:xfrm>
            <a:off x="680098" y="2275039"/>
            <a:ext cx="3940660" cy="748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вает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рантированные государством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е обеспечение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 МИО</a:t>
            </a:r>
            <a:endParaRPr lang="ru-RU" altLang="ru-RU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Стрелка вниз 27"/>
          <p:cNvSpPr>
            <a:spLocks noChangeArrowheads="1"/>
          </p:cNvSpPr>
          <p:nvPr/>
        </p:nvSpPr>
        <p:spPr bwMode="auto">
          <a:xfrm>
            <a:off x="2289783" y="3721057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6" name="Стрелка вниз 27"/>
          <p:cNvSpPr>
            <a:spLocks noChangeArrowheads="1"/>
          </p:cNvSpPr>
          <p:nvPr/>
        </p:nvSpPr>
        <p:spPr bwMode="auto">
          <a:xfrm>
            <a:off x="2289783" y="2133156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object 2"/>
          <p:cNvSpPr txBox="1">
            <a:spLocks/>
          </p:cNvSpPr>
          <p:nvPr/>
        </p:nvSpPr>
        <p:spPr bwMode="auto">
          <a:xfrm>
            <a:off x="616417" y="3335627"/>
            <a:ext cx="5000612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уется на основании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а расходов МИО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object 2"/>
          <p:cNvSpPr txBox="1">
            <a:spLocks/>
          </p:cNvSpPr>
          <p:nvPr/>
        </p:nvSpPr>
        <p:spPr bwMode="auto">
          <a:xfrm>
            <a:off x="6970275" y="2744831"/>
            <a:ext cx="4730672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ются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и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раслевых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Стрелка вниз 27"/>
          <p:cNvSpPr>
            <a:spLocks noChangeArrowheads="1"/>
          </p:cNvSpPr>
          <p:nvPr/>
        </p:nvSpPr>
        <p:spPr bwMode="auto">
          <a:xfrm>
            <a:off x="8958816" y="2634177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object 2"/>
          <p:cNvSpPr txBox="1">
            <a:spLocks/>
          </p:cNvSpPr>
          <p:nvPr/>
        </p:nvSpPr>
        <p:spPr bwMode="auto">
          <a:xfrm>
            <a:off x="7048510" y="3223420"/>
            <a:ext cx="4277231" cy="502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е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ор ЦТР с учетом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ожений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ого плана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Стрелка вниз 27"/>
          <p:cNvSpPr>
            <a:spLocks noChangeArrowheads="1"/>
          </p:cNvSpPr>
          <p:nvPr/>
        </p:nvSpPr>
        <p:spPr bwMode="auto">
          <a:xfrm>
            <a:off x="8994959" y="2133156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9" name="Стрелка вниз 27"/>
          <p:cNvSpPr>
            <a:spLocks noChangeArrowheads="1"/>
          </p:cNvSpPr>
          <p:nvPr/>
        </p:nvSpPr>
        <p:spPr bwMode="auto">
          <a:xfrm>
            <a:off x="2285122" y="3131675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object 2"/>
          <p:cNvSpPr txBox="1">
            <a:spLocks/>
          </p:cNvSpPr>
          <p:nvPr/>
        </p:nvSpPr>
        <p:spPr bwMode="auto">
          <a:xfrm>
            <a:off x="512438" y="3950923"/>
            <a:ext cx="4235289" cy="502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ование </a:t>
            </a:r>
            <a:r>
              <a:rPr lang="kk-KZ" alt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ой инфраструктуры </a:t>
            </a:r>
            <a:r>
              <a:rPr lang="kk-KZ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ьным приложением к Закону</a:t>
            </a:r>
            <a:endParaRPr lang="ru-RU" alt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Стрелка вниз 27"/>
          <p:cNvSpPr>
            <a:spLocks noChangeArrowheads="1"/>
          </p:cNvSpPr>
          <p:nvPr/>
        </p:nvSpPr>
        <p:spPr bwMode="auto">
          <a:xfrm>
            <a:off x="8967416" y="3740066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5" name="object 2"/>
          <p:cNvSpPr txBox="1">
            <a:spLocks/>
          </p:cNvSpPr>
          <p:nvPr/>
        </p:nvSpPr>
        <p:spPr bwMode="auto">
          <a:xfrm>
            <a:off x="7159248" y="3852988"/>
            <a:ext cx="4133248" cy="748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возврата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kk-KZ" alt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целевом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и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имальных объемов по </a:t>
            </a:r>
            <a:r>
              <a:rPr lang="kk-KZ" alt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ю 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ов госаудита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952017" y="1756577"/>
            <a:ext cx="0" cy="275229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Левая фигурная скобка 96"/>
          <p:cNvSpPr/>
          <p:nvPr/>
        </p:nvSpPr>
        <p:spPr>
          <a:xfrm rot="16200000">
            <a:off x="5651061" y="-902997"/>
            <a:ext cx="618533" cy="11364253"/>
          </a:xfrm>
          <a:prstGeom prst="leftBrac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00254"/>
            <a:endParaRPr lang="ru-RU" sz="24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4660639" y="5077524"/>
            <a:ext cx="3812600" cy="1591087"/>
          </a:xfrm>
          <a:prstGeom prst="roundRect">
            <a:avLst/>
          </a:prstGeom>
          <a:solidFill>
            <a:srgbClr val="DCE6F2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1200254"/>
            <a:r>
              <a:rPr lang="kk-KZ" sz="12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траслевые МИО </a:t>
            </a:r>
            <a:r>
              <a:rPr lang="kk-KZ" sz="12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еспечивают </a:t>
            </a:r>
            <a:r>
              <a:rPr lang="kk-KZ" sz="12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ониторинг:</a:t>
            </a:r>
          </a:p>
          <a:p>
            <a:pPr algn="just" defTabSz="1200254"/>
            <a:endParaRPr lang="kk-KZ" sz="5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1. Целевых трансфертов общего характера</a:t>
            </a:r>
          </a:p>
          <a:p>
            <a:pPr algn="just" defTabSz="1200254"/>
            <a:endParaRPr lang="kk-KZ" sz="5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. </a:t>
            </a:r>
            <a:r>
              <a:rPr lang="kk-KZ" sz="12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атрат </a:t>
            </a:r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а развитие</a:t>
            </a:r>
          </a:p>
          <a:p>
            <a:pPr algn="just" defTabSz="1200254"/>
            <a:endParaRPr lang="kk-KZ" sz="5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. Минимальных объемов финансирования</a:t>
            </a:r>
            <a:endParaRPr lang="ru-RU" sz="125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object 2"/>
          <p:cNvSpPr txBox="1">
            <a:spLocks/>
          </p:cNvSpPr>
          <p:nvPr/>
        </p:nvSpPr>
        <p:spPr bwMode="auto">
          <a:xfrm>
            <a:off x="6850273" y="2281608"/>
            <a:ext cx="4850674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ирование на СРС и минимальных </a:t>
            </a:r>
            <a:r>
              <a:rPr lang="kk-KZ" alt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ах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Стрелка вниз 27"/>
          <p:cNvSpPr>
            <a:spLocks noChangeArrowheads="1"/>
          </p:cNvSpPr>
          <p:nvPr/>
        </p:nvSpPr>
        <p:spPr bwMode="auto">
          <a:xfrm>
            <a:off x="8958174" y="3086055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9177730" y="5326524"/>
            <a:ext cx="2926506" cy="1087192"/>
          </a:xfrm>
          <a:prstGeom prst="roundRect">
            <a:avLst/>
          </a:prstGeom>
          <a:solidFill>
            <a:srgbClr val="DCE6F2"/>
          </a:solidFill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254"/>
            <a:r>
              <a:rPr lang="kk-KZ" sz="12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езультаты мониторинга</a:t>
            </a:r>
            <a:r>
              <a:rPr lang="kk-KZ" sz="12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kk-KZ" sz="12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едставляются</a:t>
            </a:r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ревкомиссиям</a:t>
            </a:r>
            <a:endParaRPr lang="ru-RU" sz="125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133518" y="5071632"/>
            <a:ext cx="4087255" cy="1596979"/>
          </a:xfrm>
          <a:prstGeom prst="roundRect">
            <a:avLst/>
          </a:prstGeom>
          <a:solidFill>
            <a:srgbClr val="DCE6F2"/>
          </a:solidFill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1200254"/>
            <a:r>
              <a:rPr lang="kk-KZ" sz="12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юджет развития МИО формируется:</a:t>
            </a:r>
          </a:p>
          <a:p>
            <a:pPr algn="just" defTabSz="1200254"/>
            <a:endParaRPr lang="kk-KZ" sz="500" b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1. С учетом привязки к СРС и мин.стандартам</a:t>
            </a:r>
          </a:p>
          <a:p>
            <a:pPr algn="just" defTabSz="1200254"/>
            <a:endParaRPr lang="kk-KZ" sz="5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. На основании инвестиционного плана</a:t>
            </a:r>
          </a:p>
          <a:p>
            <a:pPr algn="just" defTabSz="1200254"/>
            <a:endParaRPr lang="kk-KZ" sz="5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25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. На реальной потребности региона </a:t>
            </a:r>
            <a:endParaRPr lang="en-US" sz="125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r>
              <a:rPr lang="kk-KZ" sz="10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kk-KZ" sz="10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сключено </a:t>
            </a:r>
            <a:r>
              <a:rPr lang="kk-KZ" sz="10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пределение размера бюджета развития в объеме 14,6</a:t>
            </a:r>
            <a:r>
              <a:rPr lang="ru-RU" sz="10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%</a:t>
            </a:r>
            <a:r>
              <a:rPr lang="kk-KZ" sz="10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от текущих затрат)</a:t>
            </a:r>
            <a:endParaRPr lang="ru-RU" sz="125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Прямая со стрелкой 5"/>
          <p:cNvCxnSpPr>
            <a:stCxn id="99" idx="3"/>
          </p:cNvCxnSpPr>
          <p:nvPr/>
        </p:nvCxnSpPr>
        <p:spPr>
          <a:xfrm>
            <a:off x="8473239" y="5873068"/>
            <a:ext cx="65644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-11" y="118370"/>
            <a:ext cx="11316452" cy="291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1200254">
              <a:defRPr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4. МЕЖБЮДЖЕТНЫЕ ОТНОШЕНИЯ - </a:t>
            </a:r>
            <a:r>
              <a:rPr lang="ru-RU" sz="24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трансферты общего характера</a:t>
            </a:r>
          </a:p>
        </p:txBody>
      </p:sp>
      <p:cxnSp>
        <p:nvCxnSpPr>
          <p:cNvPr id="39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2205" y="504708"/>
            <a:ext cx="12189178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1888273" y="6640958"/>
            <a:ext cx="8262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29</a:t>
            </a:r>
          </a:p>
        </p:txBody>
      </p:sp>
    </p:spTree>
    <p:extLst>
      <p:ext uri="{BB962C8B-B14F-4D97-AF65-F5344CB8AC3E}">
        <p14:creationId xmlns:p14="http://schemas.microsoft.com/office/powerpoint/2010/main" val="300309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95141" y="1472978"/>
            <a:ext cx="12118632" cy="4757097"/>
            <a:chOff x="470530" y="1102622"/>
            <a:chExt cx="8731122" cy="4094835"/>
          </a:xfrm>
        </p:grpSpPr>
        <p:cxnSp>
          <p:nvCxnSpPr>
            <p:cNvPr id="13" name="Прямая со стрелкой 12"/>
            <p:cNvCxnSpPr/>
            <p:nvPr/>
          </p:nvCxnSpPr>
          <p:spPr>
            <a:xfrm>
              <a:off x="554804" y="2607530"/>
              <a:ext cx="8529004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27ACAA"/>
              </a:solidFill>
              <a:prstDash val="solid"/>
              <a:tailEnd type="arrow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14" name="TextBox 13"/>
            <p:cNvSpPr txBox="1"/>
            <p:nvPr/>
          </p:nvSpPr>
          <p:spPr>
            <a:xfrm>
              <a:off x="566829" y="2268236"/>
              <a:ext cx="1016429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2133" b="1" dirty="0">
                  <a:solidFill>
                    <a:srgbClr val="27ACAA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2007 год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4804" y="1414295"/>
              <a:ext cx="2891355" cy="582844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200" b="1">
                  <a:solidFill>
                    <a:schemeClr val="accent3">
                      <a:lumMod val="50000"/>
                    </a:schemeClr>
                  </a:solidFill>
                  <a:latin typeface="Arial" panose="020B0604020202020204" pitchFamily="34" charset="0"/>
                </a:defRPr>
              </a:lvl1pPr>
            </a:lstStyle>
            <a:p>
              <a:pPr defTabSz="919716" fontAlgn="base"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defRPr/>
              </a:pPr>
              <a:r>
                <a:rPr lang="ru-RU" sz="1600" dirty="0">
                  <a:solidFill>
                    <a:srgbClr val="188CE5">
                      <a:lumMod val="50000"/>
                    </a:srgbClr>
                  </a:solidFill>
                  <a:cs typeface="Arial" panose="020B0604020202020204" pitchFamily="34" charset="0"/>
                  <a:sym typeface="Arial"/>
                </a:rPr>
                <a:t>Концепция по внедрению системы государственного планирования, ориентированного на результаты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486674" y="1376960"/>
              <a:ext cx="2843373" cy="762997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1600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нцепция новой бюджетной политики</a:t>
              </a:r>
              <a:r>
                <a:rPr lang="en-US" sz="1600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/ </a:t>
              </a:r>
              <a:r>
                <a:rPr lang="ru-RU" sz="1600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нцепция формирования и использования средств Национального фонда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68470" y="2260492"/>
              <a:ext cx="1479478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2133" b="1" dirty="0">
                  <a:solidFill>
                    <a:srgbClr val="27ACAA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2013 год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778597" y="2260492"/>
              <a:ext cx="1252721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2133" b="1" dirty="0">
                  <a:solidFill>
                    <a:srgbClr val="27ACAA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2022 год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6503306" y="1444085"/>
              <a:ext cx="2416251" cy="402692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1600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онцепция управления госфинансами до 2030 года</a:t>
              </a:r>
              <a:endParaRPr lang="ru-RU" sz="1600" b="1" dirty="0">
                <a:solidFill>
                  <a:srgbClr val="3D108A">
                    <a:lumMod val="50000"/>
                  </a:srgbClr>
                </a:solidFill>
                <a:latin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70530" y="2978919"/>
              <a:ext cx="2748351" cy="19775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indent="-228594" algn="just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заложена основа для перехода к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бюджету, ориентированному на результат</a:t>
              </a:r>
              <a:r>
                <a:rPr lang="en-US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(</a:t>
              </a:r>
              <a:r>
                <a:rPr lang="kk-KZ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БОР)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переход на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трехлетний бюджет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внедрена система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госпланирования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обеспечена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стабильность межбюджетных отношений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 путем законодательного определения объемов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трансфертов общего характера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на трехлетний период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015611" y="2168131"/>
              <a:ext cx="1479478" cy="402692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3200" b="1" dirty="0">
                  <a:solidFill>
                    <a:srgbClr val="2DB757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2008 год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33323" y="2635832"/>
              <a:ext cx="2849873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buClr>
                  <a:srgbClr val="27ACAA"/>
                </a:buClr>
                <a:buSzPct val="70000"/>
                <a:defRPr/>
              </a:pPr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ный кодекс 2008 г.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537676" y="2989224"/>
              <a:ext cx="2730313" cy="19334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indent="-228594" defTabSz="919716" fontAlgn="base">
                <a:spcBef>
                  <a:spcPct val="0"/>
                </a:spcBef>
                <a:spcAft>
                  <a:spcPts val="8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2014 - 2017 годы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 – сформированы основы для обеспечения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сбалансированности госфинансов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и бюджетной эффективности 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ts val="8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2018 - 2020 годы –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 сделаны шаги для укрепления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устойчивости госфинансов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,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принят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учет по методу начислений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в соответствии с международными стандартами, что повышает качество и прозрачность госфинансов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035620" y="2260493"/>
              <a:ext cx="1479478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algn="ctr"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2133" b="1" dirty="0">
                  <a:solidFill>
                    <a:srgbClr val="27ACAA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2020 год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6345733" y="2955051"/>
              <a:ext cx="2855919" cy="22424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indent="-228594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заложены новые инструменты управления госфинансами для обеспечения 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бережливой  и ответственной бюджетной политики</a:t>
              </a:r>
            </a:p>
            <a:p>
              <a:pPr marL="228594" indent="-228594" defTabSz="919716" fontAlgn="base"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предопределена необходимость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расширения поля регулирования  Бюджетного кодекса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, смещения фокуса бюджетной политики от бюджетных параметров </a:t>
              </a:r>
              <a:r>
                <a:rPr lang="ru-RU" sz="1333" b="1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на расширение основ консолидации </a:t>
              </a:r>
              <a:r>
                <a:rPr lang="ru-RU" sz="1333" dirty="0">
                  <a:solidFill>
                    <a:srgbClr val="1F497D">
                      <a:lumMod val="50000"/>
                    </a:srgbClr>
                  </a:solidFill>
                  <a:latin typeface="Arial" pitchFamily="34" charset="0"/>
                  <a:cs typeface="Arial" panose="020B0604020202020204" pitchFamily="34" charset="0"/>
                  <a:sym typeface="Arial"/>
                </a:rPr>
                <a:t>госфинансов  и управления ими, а также принятия дальнейших мер по усилению принципов БОР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6133" y="1102622"/>
              <a:ext cx="7304926" cy="222540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defTabSz="919716" fontAlgn="base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defRPr/>
              </a:pPr>
              <a:r>
                <a:rPr lang="ru-RU" sz="1600" b="1" dirty="0">
                  <a:solidFill>
                    <a:srgbClr val="2DB757">
                      <a:lumMod val="50000"/>
                    </a:srgbClr>
                  </a:solidFill>
                  <a:latin typeface="Arial"/>
                  <a:cs typeface="Arial" panose="020B0604020202020204" pitchFamily="34" charset="0"/>
                  <a:sym typeface="Arial"/>
                </a:rPr>
                <a:t>Концепции, которые выступают основой для разработки Бюджетного кодекса</a:t>
              </a:r>
            </a:p>
          </p:txBody>
        </p:sp>
        <p:cxnSp>
          <p:nvCxnSpPr>
            <p:cNvPr id="32" name="Прямая соединительная линия 31"/>
            <p:cNvCxnSpPr>
              <a:cxnSpLocks/>
            </p:cNvCxnSpPr>
            <p:nvPr/>
          </p:nvCxnSpPr>
          <p:spPr>
            <a:xfrm>
              <a:off x="3412175" y="1416385"/>
              <a:ext cx="26464" cy="366641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  <p:cxnSp>
          <p:nvCxnSpPr>
            <p:cNvPr id="29" name="Прямая соединительная линия 28"/>
            <p:cNvCxnSpPr>
              <a:cxnSpLocks/>
            </p:cNvCxnSpPr>
            <p:nvPr/>
          </p:nvCxnSpPr>
          <p:spPr>
            <a:xfrm flipH="1">
              <a:off x="6351008" y="1411362"/>
              <a:ext cx="10165" cy="364958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</p:grpSp>
      <p:sp>
        <p:nvSpPr>
          <p:cNvPr id="7" name="TextBox 6"/>
          <p:cNvSpPr txBox="1"/>
          <p:nvPr/>
        </p:nvSpPr>
        <p:spPr>
          <a:xfrm>
            <a:off x="4513169" y="822681"/>
            <a:ext cx="3841027" cy="607313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/>
          <a:p>
            <a:pPr defTabSz="919716" fontAlgn="base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defRPr/>
            </a:pPr>
            <a:r>
              <a:rPr lang="ru-RU" sz="2133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14 лет </a:t>
            </a:r>
            <a:r>
              <a:rPr lang="ru-RU" sz="4267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76</a:t>
            </a:r>
            <a:r>
              <a:rPr lang="ru-RU" sz="3733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400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правок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8471882" y="591046"/>
            <a:ext cx="3368276" cy="884248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9716" fontAlgn="base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defRPr/>
            </a:pPr>
            <a:r>
              <a:rPr lang="ru-RU" sz="1333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 среднем</a:t>
            </a:r>
          </a:p>
          <a:p>
            <a:pPr algn="ctr" defTabSz="919716" fontAlgn="base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defRPr/>
            </a:pPr>
            <a:r>
              <a:rPr lang="ru-RU" sz="4267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2</a:t>
            </a:r>
            <a:r>
              <a:rPr lang="ru-RU" sz="1333" b="1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133" dirty="0">
                <a:solidFill>
                  <a:srgbClr val="27ACAA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аз в год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802" y="998352"/>
            <a:ext cx="3284476" cy="328134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defPPr>
              <a:defRPr lang="ru-RU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919716" fontAlgn="base"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defRPr/>
            </a:pPr>
            <a:r>
              <a:rPr lang="ru-RU" sz="2133" dirty="0">
                <a:solidFill>
                  <a:srgbClr val="27ACAA">
                    <a:lumMod val="50000"/>
                  </a:srgbClr>
                </a:solidFill>
                <a:cs typeface="Arial" panose="020B0604020202020204" pitchFamily="34" charset="0"/>
                <a:sym typeface="Arial"/>
              </a:rPr>
              <a:t>С 2008 по 2023 год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42694" y="593490"/>
            <a:ext cx="6554297" cy="293381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defPPr>
              <a:defRPr lang="ru-RU"/>
            </a:defPPr>
            <a:lvl1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algn="l" defTabSz="919716" fontAlgn="base"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defRPr/>
            </a:pPr>
            <a:r>
              <a:rPr lang="ru-RU" sz="18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anose="020B0604020202020204" pitchFamily="34" charset="0"/>
                <a:sym typeface="Arial"/>
              </a:rPr>
              <a:t>В действующий Бюджетный кодекс вносились: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C50600E-137D-4886-AAF3-DD8C07E562F0}"/>
              </a:ext>
            </a:extLst>
          </p:cNvPr>
          <p:cNvCxnSpPr>
            <a:cxnSpLocks/>
          </p:cNvCxnSpPr>
          <p:nvPr/>
        </p:nvCxnSpPr>
        <p:spPr>
          <a:xfrm flipV="1">
            <a:off x="147140" y="1431215"/>
            <a:ext cx="11989352" cy="4192"/>
          </a:xfrm>
          <a:prstGeom prst="line">
            <a:avLst/>
          </a:prstGeom>
          <a:noFill/>
          <a:ln w="9525" cap="flat" cmpd="sng" algn="ctr">
            <a:solidFill>
              <a:srgbClr val="2E2E38">
                <a:lumMod val="50000"/>
              </a:srgbClr>
            </a:solidFill>
            <a:prstDash val="dash"/>
          </a:ln>
          <a:effectLst/>
        </p:spPr>
      </p:cxnSp>
      <p:sp>
        <p:nvSpPr>
          <p:cNvPr id="12" name="Прямоугольник 11"/>
          <p:cNvSpPr/>
          <p:nvPr/>
        </p:nvSpPr>
        <p:spPr>
          <a:xfrm>
            <a:off x="217922" y="6065821"/>
            <a:ext cx="8000777" cy="750732"/>
          </a:xfrm>
          <a:prstGeom prst="rect">
            <a:avLst/>
          </a:prstGeom>
        </p:spPr>
        <p:txBody>
          <a:bodyPr wrap="square" lIns="121681" tIns="60840" rIns="121681" bIns="60840">
            <a:spAutoFit/>
          </a:bodyPr>
          <a:lstStyle/>
          <a:p>
            <a:pPr defTabSz="919716" fontAlgn="base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002060"/>
              </a:buClr>
              <a:buSzPct val="120000"/>
              <a:defRPr/>
            </a:pPr>
            <a:r>
              <a:rPr lang="ru-RU" sz="1600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За 14 лет поправки вносились точечно, изменениям подвергались отдельные главы и статьи, что потребовало дальнейшей систематизации и перезагрузки содержания Кодекса</a:t>
            </a:r>
          </a:p>
        </p:txBody>
      </p:sp>
      <p:sp>
        <p:nvSpPr>
          <p:cNvPr id="27" name="Объект 2"/>
          <p:cNvSpPr txBox="1">
            <a:spLocks/>
          </p:cNvSpPr>
          <p:nvPr/>
        </p:nvSpPr>
        <p:spPr>
          <a:xfrm>
            <a:off x="95141" y="103005"/>
            <a:ext cx="10903296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531082" rtl="0" eaLnBrk="1" latinLnBrk="0" hangingPunct="1">
              <a:spcBef>
                <a:spcPts val="0"/>
              </a:spcBef>
              <a:spcAft>
                <a:spcPts val="204"/>
              </a:spcAft>
              <a:buClr>
                <a:schemeClr val="tx2"/>
              </a:buClr>
              <a:buSzPct val="70000"/>
              <a:buFontTx/>
              <a:buNone/>
              <a:defRPr sz="12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22406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244812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 typeface="+mj-lt"/>
              <a:buAutoNum type="arabicPeriod"/>
              <a:defRPr sz="7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defTabSz="708092">
              <a:spcAft>
                <a:spcPts val="272"/>
              </a:spcAft>
              <a:buClr>
                <a:srgbClr val="44546A"/>
              </a:buClr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sym typeface="Arial"/>
              </a:rPr>
              <a:t>ВЕКТОР бюджетной политики</a:t>
            </a:r>
          </a:p>
        </p:txBody>
      </p:sp>
    </p:spTree>
    <p:extLst>
      <p:ext uri="{BB962C8B-B14F-4D97-AF65-F5344CB8AC3E}">
        <p14:creationId xmlns:p14="http://schemas.microsoft.com/office/powerpoint/2010/main" val="76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09CC474-349D-3BB7-3EBC-E6C94C56F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5603" y="106163"/>
            <a:ext cx="11979882" cy="356158"/>
          </a:xfrm>
        </p:spPr>
        <p:txBody>
          <a:bodyPr>
            <a:noAutofit/>
          </a:bodyPr>
          <a:lstStyle/>
          <a:p>
            <a:pPr algn="l" defTabSz="1218420" eaLnBrk="0" fontAlgn="base" hangingPunct="0">
              <a:spcBef>
                <a:spcPts val="0"/>
              </a:spcBef>
              <a:spcAft>
                <a:spcPts val="272"/>
              </a:spcAft>
              <a:defRPr/>
            </a:pPr>
            <a:r>
              <a:rPr lang="kk-KZ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УДОРОЖАНИЕ</a:t>
            </a:r>
            <a:r>
              <a:rPr lang="kk-KZ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местных бюджетных инвестиций</a:t>
            </a:r>
            <a:endParaRPr lang="ru-KZ" dirty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95142" y="609500"/>
            <a:ext cx="116208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За 5 летний период установлены </a:t>
            </a:r>
            <a:r>
              <a:rPr lang="ru-RU" sz="24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проекта со средним увеличением 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первоначальной 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стоимости</a:t>
            </a:r>
            <a:b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</a:b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на </a:t>
            </a:r>
            <a:r>
              <a:rPr lang="ru-RU" sz="1600" b="1" dirty="0">
                <a:solidFill>
                  <a:srgbClr val="44546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170,4%, </a:t>
            </a:r>
            <a:r>
              <a:rPr lang="ru-RU" sz="1600" dirty="0">
                <a:solidFill>
                  <a:srgbClr val="44546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или </a:t>
            </a:r>
            <a:r>
              <a:rPr lang="ru-RU" sz="1600" b="1" dirty="0">
                <a:solidFill>
                  <a:srgbClr val="44546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33,2 млрд тенге </a:t>
            </a:r>
            <a:r>
              <a:rPr lang="ru-RU" sz="16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или же с увеличением сметной стоимости 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т 7 млн. до 12 млн. кратного размера МРП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84011" y="3126671"/>
            <a:ext cx="36410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по городу Алматы –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1 проект </a:t>
            </a: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(строительство 1 линии метрополитена)</a:t>
            </a:r>
          </a:p>
          <a:p>
            <a:pPr marL="285750" indent="-285750" algn="just" defTabSz="914377">
              <a:buFont typeface="Arial" panose="020B0604020202020204" pitchFamily="34" charset="0"/>
              <a:buChar char="•"/>
            </a:pPr>
            <a:r>
              <a:rPr lang="kk-KZ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по Карагандинской области –  </a:t>
            </a:r>
            <a:r>
              <a:rPr lang="kk-KZ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1 проект </a:t>
            </a:r>
            <a:r>
              <a:rPr lang="kk-KZ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(строительство теплотрассы от ТЭЦ – 3)</a:t>
            </a:r>
            <a:endParaRPr lang="ru-RU" sz="14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38134" y="1890776"/>
            <a:ext cx="11266185" cy="2173154"/>
            <a:chOff x="335427" y="1656536"/>
            <a:chExt cx="8306203" cy="1629865"/>
          </a:xfrm>
        </p:grpSpPr>
        <p:cxnSp>
          <p:nvCxnSpPr>
            <p:cNvPr id="12" name="Прямая соединительная линия 11"/>
            <p:cNvCxnSpPr>
              <a:endCxn id="16" idx="3"/>
            </p:cNvCxnSpPr>
            <p:nvPr/>
          </p:nvCxnSpPr>
          <p:spPr>
            <a:xfrm>
              <a:off x="564127" y="1983405"/>
              <a:ext cx="8052547" cy="30922"/>
            </a:xfrm>
            <a:prstGeom prst="line">
              <a:avLst/>
            </a:prstGeom>
            <a:ln w="28575"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Прямоугольник 13"/>
            <p:cNvSpPr/>
            <p:nvPr/>
          </p:nvSpPr>
          <p:spPr>
            <a:xfrm>
              <a:off x="335427" y="1679366"/>
              <a:ext cx="2644534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дорожание на сумму более </a:t>
              </a: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0 млрд тенге</a:t>
              </a:r>
            </a:p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485893" y="1679367"/>
              <a:ext cx="2430122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дорожание на сумму более                    31 млрд тенге</a:t>
              </a:r>
            </a:p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421947" y="1656536"/>
              <a:ext cx="2194727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Удорожание на сумму более </a:t>
              </a: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35 млрд тенге</a:t>
              </a: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endParaRPr lang="kk-KZ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455252" y="2570821"/>
              <a:ext cx="2541234" cy="7155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 defTabSz="914377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по Восточно-Казахстанской области –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1 проект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(мостовой переход через </a:t>
              </a:r>
              <a:r>
                <a:rPr lang="ru-RU" sz="14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Бухтарминское</a:t>
              </a:r>
              <a:r>
                <a:rPr lang="ru-RU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 водохранилище)</a:t>
              </a:r>
              <a:endPara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6421947" y="2602455"/>
              <a:ext cx="2219683" cy="392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 defTabSz="914377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по городу Астана –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1 проект </a:t>
              </a:r>
              <a:r>
                <a:rPr lang="ru-RU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(строительство ТЭЦ-3)</a:t>
              </a:r>
            </a:p>
          </p:txBody>
        </p:sp>
      </p:grpSp>
      <p:sp>
        <p:nvSpPr>
          <p:cNvPr id="2" name="Левая фигурная скобка 1"/>
          <p:cNvSpPr/>
          <p:nvPr/>
        </p:nvSpPr>
        <p:spPr>
          <a:xfrm rot="16200000">
            <a:off x="5855059" y="-989389"/>
            <a:ext cx="441528" cy="11469864"/>
          </a:xfrm>
          <a:prstGeom prst="lef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ru-RU">
              <a:solidFill>
                <a:prstClr val="black"/>
              </a:solidFill>
              <a:latin typeface="Calibri" panose="020F0502020204030204"/>
              <a:sym typeface="Arial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6075823" y="5211123"/>
            <a:ext cx="1896" cy="1199330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438134" y="5025458"/>
            <a:ext cx="552178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377"/>
            <a:r>
              <a:rPr lang="kk-KZ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Согласно действующему </a:t>
            </a:r>
            <a:r>
              <a:rPr lang="kk-KZ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Кодексу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расходы, связанные с увеличением сметной стоимости МБИП, реализуемых за счет ЦТР из вышестоящего бюджета, финансируются за счет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местного бюджета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, за исключением города Астана </a:t>
            </a:r>
            <a:r>
              <a:rPr lang="ru-RU" sz="14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(свыше 1000000-кратного размера месячного расчетного показателя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09401" y="5034822"/>
            <a:ext cx="57224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buFont typeface="Wingdings" panose="05000000000000000000" pitchFamily="2" charset="2"/>
              <a:buChar char="Ø"/>
            </a:pPr>
            <a:r>
              <a:rPr lang="kk-KZ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вводится </a:t>
            </a:r>
            <a:r>
              <a:rPr lang="kk-KZ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понятие критически важных объектов и проектов общестранового значения</a:t>
            </a:r>
            <a:r>
              <a:rPr lang="kk-KZ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marL="285750" indent="-285750" algn="just" defTabSz="914377">
              <a:buFont typeface="Wingdings" panose="05000000000000000000" pitchFamily="2" charset="2"/>
              <a:buChar char="Ø"/>
            </a:pPr>
            <a:endParaRPr lang="kk-KZ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algn="just" defTabSz="914377">
              <a:buFont typeface="Wingdings" panose="05000000000000000000" pitchFamily="2" charset="2"/>
              <a:buChar char="Ø"/>
            </a:pPr>
            <a:r>
              <a:rPr lang="kk-KZ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обеспечение финансирования </a:t>
            </a:r>
            <a:r>
              <a:rPr lang="kk-KZ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удорожания таких проектов из республиканского бюджета</a:t>
            </a:r>
            <a:endParaRPr lang="kk-KZ" sz="14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6BBD3773-A73F-ACF4-66B3-16354AF6A694}"/>
              </a:ext>
            </a:extLst>
          </p:cNvPr>
          <p:cNvSpPr txBox="1"/>
          <p:nvPr/>
        </p:nvSpPr>
        <p:spPr>
          <a:xfrm>
            <a:off x="11927957" y="6671619"/>
            <a:ext cx="202211" cy="163956"/>
          </a:xfrm>
          <a:prstGeom prst="rect">
            <a:avLst/>
          </a:prstGeom>
        </p:spPr>
        <p:txBody>
          <a:bodyPr vert="horz" wrap="square" lIns="0" tIns="10795" rIns="0" bIns="0" rtlCol="0">
            <a:spAutoFit/>
          </a:bodyPr>
          <a:lstStyle/>
          <a:p>
            <a:pPr marL="107312" marR="5080" indent="-95248" algn="r" defTabSz="914377">
              <a:lnSpc>
                <a:spcPct val="100600"/>
              </a:lnSpc>
              <a:spcBef>
                <a:spcPts val="85"/>
              </a:spcBef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  <a:sym typeface="Arial"/>
              </a:rPr>
              <a:t>30</a:t>
            </a:r>
            <a:endParaRPr lang="ru-RU" sz="1050" dirty="0">
              <a:solidFill>
                <a:srgbClr val="FF000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2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73291"/>
            <a:ext cx="12192000" cy="1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7724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64159" y="1649083"/>
            <a:ext cx="11756571" cy="4771510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800" b="1" i="0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РЕДЛАГАЕТСЯ:</a:t>
            </a:r>
          </a:p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ru-RU" sz="800" b="1" i="0" u="sng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РОВЕДЕНИЕ инвестиционного обзора:</a:t>
            </a:r>
          </a:p>
          <a:p>
            <a:pPr marL="1454150" marR="0" lvl="0" indent="-28575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ыявление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ичин возникновения </a:t>
            </a:r>
            <a:r>
              <a:rPr lang="ru-RU" alt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истемных проблем</a:t>
            </a:r>
            <a:endParaRPr lang="ru-RU" altLang="ru-RU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454150" marR="0" lvl="0" indent="-28575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комендации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 их устранению</a:t>
            </a:r>
          </a:p>
          <a:p>
            <a:pPr marL="920727" marR="0" lvl="1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РАЗРАБОТКА инвестиционного плана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: 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порядочение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цесса планирования ГИП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воочередное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инансирование начатых проектов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оритет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и использовании документации из государственного банка проектов строительства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endParaRPr lang="ru-RU" altLang="ru-RU" sz="800" dirty="0">
              <a:solidFill>
                <a:prstClr val="black"/>
              </a:solidFill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ВКЛЮЧЕНИЕ результатов оценки в процесс</a:t>
            </a:r>
            <a:r>
              <a:rPr kumimoji="0" lang="ru-RU" altLang="ru-RU" sz="1600" b="1" i="0" u="none" strike="noStrike" kern="1200" cap="none" spc="0" normalizeH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планирования бюджета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436688" lvl="3" indent="-269875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инхронизация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роков оценки со сроком годового отчета об исполнении бюджета</a:t>
            </a:r>
          </a:p>
          <a:p>
            <a:pPr marL="1436688" lvl="3" indent="-269875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ru-RU" altLang="ru-RU" sz="1600" b="1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включение</a:t>
            </a:r>
            <a:r>
              <a:rPr kumimoji="0" lang="ru-RU" altLang="ru-RU" sz="1600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 итогов оценки в годовой отчет</a:t>
            </a:r>
          </a:p>
          <a:p>
            <a:pPr marL="1436688" lvl="3" indent="-269875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kumimoji="0" lang="ru-RU" altLang="ru-RU" sz="1600" b="1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публикация </a:t>
            </a:r>
            <a:r>
              <a:rPr kumimoji="0" lang="ru-RU" altLang="ru-RU" sz="1600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sym typeface="Arial" panose="020B0604020202020204" pitchFamily="34" charset="0"/>
              </a:rPr>
              <a:t>итогов оценки </a:t>
            </a:r>
          </a:p>
          <a:p>
            <a:pPr marL="1436688" lvl="3" indent="-269875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ерестройка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работы органов госаудита</a:t>
            </a:r>
            <a:endParaRPr kumimoji="0" lang="ru-RU" altLang="ru-RU" sz="1600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5. ГОСУДАРСТВЕННЫЕ</a:t>
            </a:r>
            <a:r>
              <a:rPr kumimoji="0" lang="ru-RU" sz="2400" b="1" i="0" u="none" strike="noStrike" kern="1200" cap="none" spc="0" normalizeH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 ИНВЕСТИЦИОННЫЕ ПРОЕКТЫ </a:t>
            </a:r>
            <a:r>
              <a:rPr kumimoji="0" lang="ru-RU" sz="2400" b="0" i="0" u="none" strike="noStrike" kern="1200" cap="none" spc="0" normalizeH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(ГИП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Arial"/>
              <a:cs typeface="Arial" pitchFamily="34" charset="0"/>
              <a:sym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59" y="573576"/>
            <a:ext cx="1163174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marL="0" marR="0" lvl="0" indent="0" defTabSz="11992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ШЕНИЕ ВОПРОСОВ</a:t>
            </a:r>
            <a:r>
              <a:rPr lang="ru-R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: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тбора проектов исходя из готовности документов (ПСД, ТЭО) </a:t>
            </a:r>
          </a:p>
          <a:p>
            <a:pPr lvl="3" defTabSz="1199243">
              <a:defRPr/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   удорожания и 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дофинансирования 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роектов</a:t>
            </a:r>
          </a:p>
          <a:p>
            <a:pPr lvl="3" defTabSz="1199243">
              <a:defRPr/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   отсутствия мониторинга и оценки ГИП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9395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65994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6.</a:t>
            </a: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УСИЛЕНИЕ принципов БОР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488915-AB78-DA61-0596-0F583D765ACB}"/>
              </a:ext>
            </a:extLst>
          </p:cNvPr>
          <p:cNvSpPr txBox="1"/>
          <p:nvPr/>
        </p:nvSpPr>
        <p:spPr>
          <a:xfrm>
            <a:off x="241299" y="1138156"/>
            <a:ext cx="5854701" cy="3744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ДХОДЫ:</a:t>
            </a:r>
            <a:r>
              <a:rPr lang="ru-RU" sz="1867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</a:p>
          <a:p>
            <a:pPr defTabSz="1219170">
              <a:buClr>
                <a:srgbClr val="000000"/>
              </a:buClr>
            </a:pPr>
            <a:endParaRPr lang="ru-RU" sz="1867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формирование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бюджета исходя из целей и целевых индикаторов плана развития госоргана/региона/СКС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открытость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бюджетной информации и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подотчетность 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перед населением    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разграничение 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зон ответственности должностных лиц 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120C69-1B13-7A31-8FDC-65EB316E35D8}"/>
              </a:ext>
            </a:extLst>
          </p:cNvPr>
          <p:cNvSpPr txBox="1"/>
          <p:nvPr/>
        </p:nvSpPr>
        <p:spPr>
          <a:xfrm>
            <a:off x="6337299" y="1138156"/>
            <a:ext cx="5753101" cy="3765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ЧТО позволят:</a:t>
            </a:r>
          </a:p>
          <a:p>
            <a:pPr defTabSz="1219170">
              <a:buClr>
                <a:srgbClr val="000000"/>
              </a:buClr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сосредоточить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расходы на приоритетных направлениях развития без распыления по разным документам СГП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 обеспечить участие населения в принятии решений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  усилить бюджетную дисциплину для достижения результата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9" name="Straight Connector 88">
            <a:extLst>
              <a:ext uri="{FF2B5EF4-FFF2-40B4-BE49-F238E27FC236}">
                <a16:creationId xmlns:a16="http://schemas.microsoft.com/office/drawing/2014/main" id="{10614A37-7C3B-67CF-56A4-A17D839937C4}"/>
              </a:ext>
            </a:extLst>
          </p:cNvPr>
          <p:cNvCxnSpPr>
            <a:cxnSpLocks/>
          </p:cNvCxnSpPr>
          <p:nvPr/>
        </p:nvCxnSpPr>
        <p:spPr>
          <a:xfrm flipH="1" flipV="1">
            <a:off x="6133854" y="792564"/>
            <a:ext cx="5690" cy="4538536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51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88853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6. </a:t>
            </a: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УПРАВЛЕНИЕ РЕЗУЛЬТАТАМ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488915-AB78-DA61-0596-0F583D765ACB}"/>
              </a:ext>
            </a:extLst>
          </p:cNvPr>
          <p:cNvSpPr txBox="1"/>
          <p:nvPr/>
        </p:nvSpPr>
        <p:spPr>
          <a:xfrm>
            <a:off x="241299" y="1061954"/>
            <a:ext cx="5854701" cy="49758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ОДХОДЫ:</a:t>
            </a:r>
            <a:r>
              <a:rPr lang="ru-RU" sz="1867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</a:p>
          <a:p>
            <a:pPr defTabSz="1219170">
              <a:buClr>
                <a:srgbClr val="000000"/>
              </a:buClr>
            </a:pPr>
            <a:endParaRPr lang="ru-RU" sz="1867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систематизация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инструментов управления результатами </a:t>
            </a:r>
          </a:p>
          <a:p>
            <a:pPr lvl="2" defTabSz="1219170">
              <a:buClr>
                <a:schemeClr val="tx2"/>
              </a:buClr>
            </a:pPr>
            <a:r>
              <a:rPr lang="ru-RU" sz="2000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видов мониторинга, оценки результатов, обзор, аудит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внедрение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в бюджетный процесс обзора расходов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 определение 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роли госаудита с точки зрения бюджетирования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применение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итогов мониторинга и оценок в бюджетном процессе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120C69-1B13-7A31-8FDC-65EB316E35D8}"/>
              </a:ext>
            </a:extLst>
          </p:cNvPr>
          <p:cNvSpPr txBox="1"/>
          <p:nvPr/>
        </p:nvSpPr>
        <p:spPr>
          <a:xfrm>
            <a:off x="6337299" y="998819"/>
            <a:ext cx="5753101" cy="56118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ЧТО позволят:</a:t>
            </a:r>
          </a:p>
          <a:p>
            <a:pPr defTabSz="1219170">
              <a:buClr>
                <a:srgbClr val="000000"/>
              </a:buClr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установить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понятный набор инструментов для применения при принятии управленческих и административных решений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определить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роль, цели и </a:t>
            </a:r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место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аналитической работы уполномоченных органов и АБП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приблизиться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к мировым стандартам открытости для вступления в международные организации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 повысить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эффективность и обоснованность планирования бюджета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9" name="Straight Connector 88">
            <a:extLst>
              <a:ext uri="{FF2B5EF4-FFF2-40B4-BE49-F238E27FC236}">
                <a16:creationId xmlns:a16="http://schemas.microsoft.com/office/drawing/2014/main" id="{10614A37-7C3B-67CF-56A4-A17D839937C4}"/>
              </a:ext>
            </a:extLst>
          </p:cNvPr>
          <p:cNvCxnSpPr>
            <a:cxnSpLocks/>
          </p:cNvCxnSpPr>
          <p:nvPr/>
        </p:nvCxnSpPr>
        <p:spPr>
          <a:xfrm flipH="1" flipV="1">
            <a:off x="6090310" y="738134"/>
            <a:ext cx="64592" cy="5706936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7656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127276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ОПУТСТВУЮЩИЙ ПРОЕКТ ЗАКОН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13782" y="924819"/>
            <a:ext cx="11978218" cy="3097655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sym typeface="Arial" panose="020B0604020202020204" pitchFamily="34" charset="0"/>
              </a:rPr>
              <a:t>НАПРАВЛЕН на</a:t>
            </a:r>
            <a:r>
              <a:rPr kumimoji="0" lang="ru-RU" altLang="ru-RU" sz="2000" b="1" i="0" u="none" strike="noStrike" kern="1200" cap="none" spc="0" normalizeH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sym typeface="Arial" panose="020B0604020202020204" pitchFamily="34" charset="0"/>
              </a:rPr>
              <a:t> приведение в соответствие с проектом нового Бюджетного кодекса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1454150" marR="0" lvl="0" indent="-28575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alt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6 законов</a:t>
            </a:r>
            <a:endParaRPr lang="ru-RU" altLang="ru-RU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920727" marR="0" lvl="1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ru-RU" altLang="ru-RU" sz="2000" b="1" dirty="0">
                <a:solidFill>
                  <a:srgbClr val="1F4E79"/>
                </a:solidFill>
              </a:rPr>
              <a:t>ПРЕДУСМАТРИВАЕТ унификацию механизмов ГЧП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sym typeface="Arial" panose="020B0604020202020204" pitchFamily="34" charset="0"/>
              </a:rPr>
              <a:t> 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сключение концессии </a:t>
            </a:r>
            <a:r>
              <a:rPr lang="ru-RU" altLang="ru-RU" sz="20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закон ставится на утрату)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Бюджетном кодексе </a:t>
            </a:r>
            <a:r>
              <a:rPr lang="ru-RU" altLang="ru-RU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стается часть по обязательствам ГЧП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endParaRPr lang="ru-RU" altLang="ru-RU" sz="2000" dirty="0">
              <a:solidFill>
                <a:prstClr val="black"/>
              </a:solidFill>
            </a:endParaRPr>
          </a:p>
          <a:p>
            <a:pPr marL="226478" marR="0" lvl="0" indent="-226478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484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" y="73188"/>
            <a:ext cx="10497572" cy="451275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sym typeface="Arial"/>
              </a:rPr>
              <a:t>УСИЛЕНИЕ РОЛИ ПАРЛАМЕНТА</a:t>
            </a:r>
          </a:p>
        </p:txBody>
      </p:sp>
      <p:cxnSp>
        <p:nvCxnSpPr>
          <p:cNvPr id="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270938" y="714956"/>
            <a:ext cx="11572718" cy="5624103"/>
            <a:chOff x="202282" y="1178838"/>
            <a:chExt cx="7234164" cy="4007723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202282" y="1178838"/>
              <a:ext cx="7234164" cy="40077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461" marR="0" lvl="0" indent="-228461" algn="l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44546A"/>
                </a:buClr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АСШИРЕНИЕ информации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 рамках проекта закона о республиканском бюджете/решении маслихата о местном бюджете и годового отчета об их исполнении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водная информация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 поступлениях и расходах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небюджетных фондов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(ГФСС, ФСМС) 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налитический отчет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 налоговых расходах 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циональный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доклад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о управлению государственными активами и квазигосударственным сектором 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тоги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оценки результатов 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данные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по государственным займам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ведения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о состоянии долговых обязательств и сумм по ним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водная информация по реализации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вестиционных проектов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(БОР)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водная информация об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утвержденных планах развития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органов (БОР)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водная информация о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аспортах бюджетных программ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АБП (БОР)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формация об исполнении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комендации органов </a:t>
              </a:r>
              <a:r>
                <a:rPr kumimoji="0" lang="ru-RU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саудита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информация о расходах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убъектов квазигосударственного сектора</a:t>
              </a:r>
            </a:p>
            <a:p>
              <a:pPr marL="685661" marR="0" lvl="4" indent="-228461" algn="just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400"/>
                </a:spcAft>
                <a:buClr>
                  <a:prstClr val="black">
                    <a:lumMod val="75000"/>
                    <a:lumOff val="25000"/>
                  </a:prst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перечень 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ероприятий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, проектов, планируемых за счет отчислений недропользователей на социально-экономическое развитие региона и развитие его инфраструктуры, согласно контрактам на недропользование (на местном уровне) </a:t>
              </a:r>
            </a:p>
            <a:p>
              <a:pPr marL="228461" marR="0" lvl="0" indent="-228461" algn="l" defTabSz="121917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44546A"/>
                </a:buClr>
                <a:buSzTx/>
                <a:buFont typeface="Wingdings" panose="05000000000000000000" pitchFamily="2" charset="2"/>
                <a:buChar char="Ø"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Заслушивание при рассмотрении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годового отчета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уководителей крупных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КС,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ВС, ВАП</a:t>
              </a:r>
            </a:p>
          </p:txBody>
        </p:sp>
        <p:sp>
          <p:nvSpPr>
            <p:cNvPr id="12" name="Стрелка вниз 11"/>
            <p:cNvSpPr/>
            <p:nvPr/>
          </p:nvSpPr>
          <p:spPr>
            <a:xfrm>
              <a:off x="3535183" y="1614019"/>
              <a:ext cx="602338" cy="85491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21641" tIns="60820" rIns="121641" bIns="60820" rtlCol="0" anchor="ctr"/>
            <a:lstStyle/>
            <a:p>
              <a:pPr marL="0" marR="0" lvl="0" indent="0" algn="ctr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979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14E7C25B-6731-A4F6-73E5-F6540DD68767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5FC22B1D-8DFF-3615-C9E9-CCBAFE950710}"/>
              </a:ext>
            </a:extLst>
          </p:cNvPr>
          <p:cNvSpPr txBox="1"/>
          <p:nvPr/>
        </p:nvSpPr>
        <p:spPr>
          <a:xfrm>
            <a:off x="0" y="33312"/>
            <a:ext cx="116062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001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ПЕРЕХОДНЫЕ положения и организационные вопросы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B9BF0AC-04ED-D036-27D3-1F3F6743D8FD}"/>
              </a:ext>
            </a:extLst>
          </p:cNvPr>
          <p:cNvSpPr/>
          <p:nvPr/>
        </p:nvSpPr>
        <p:spPr>
          <a:xfrm>
            <a:off x="402813" y="4674089"/>
            <a:ext cx="11386373" cy="1220783"/>
          </a:xfrm>
          <a:prstGeom prst="rect">
            <a:avLst/>
          </a:prstGeom>
          <a:noFill/>
          <a:ln>
            <a:solidFill>
              <a:srgbClr val="4BACC6">
                <a:lumMod val="50000"/>
              </a:srgbClr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342900" marR="0" lvl="0" indent="-342900" algn="l" defTabSz="1599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исполнение бюджета 2024 года будет осуществляться по старому порядку </a:t>
            </a:r>
          </a:p>
          <a:p>
            <a:pPr marL="342900" lvl="0" indent="-342900" defTabSz="1599099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v"/>
              <a:defRPr/>
            </a:pP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ланирование бюджета на 2025-2027 годы 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 годовой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отчет об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его исполнении будут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осуществляться по новому порядку</a:t>
            </a:r>
          </a:p>
          <a:p>
            <a:pPr marL="0" marR="0" lvl="0" indent="0" algn="l" defTabSz="159909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ru-RU" sz="1333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1437" y="839032"/>
            <a:ext cx="11394800" cy="2892867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marL="0" marR="0" lvl="0" indent="0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  <a:sym typeface="Arial"/>
              </a:rPr>
              <a:t>В реализацию нового Бюджетного кодекса необходимо:</a:t>
            </a:r>
          </a:p>
          <a:p>
            <a:pPr marL="727075" marR="0" lvl="1" indent="-269875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азработать и принять порядка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205 подзаконных НПА 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(в течение 2-3х месяцев после принятия)</a:t>
            </a:r>
          </a:p>
          <a:p>
            <a:pPr marL="727075" marR="0" lvl="1" indent="-269875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ерестроить работу уполномоченных органов по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проведению оценки результатов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до 1 мая должны быть сформированы итоги)</a:t>
            </a:r>
          </a:p>
          <a:p>
            <a:pPr marL="727075" marR="0" lvl="1" indent="-269875" algn="l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до конца следующего года сформировать нормативную основу для практического применени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минимальных стандартов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инфраструктурных и социальных)</a:t>
            </a:r>
          </a:p>
          <a:p>
            <a:pPr marL="727075" marR="0" lvl="1" indent="-269875" algn="just" defTabSz="6898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prstClr val="black">
                  <a:lumMod val="75000"/>
                  <a:lumOff val="25000"/>
                </a:prst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до конца следующего года провести работу по приведению в соответствие законодательства, регулирующего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целевой вклад и целевое перечислени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, в связи с упразднением данных механизмов с 2025 года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(организационно-правовая форма,  мониторинг законодательства, порядок/альтернативные механизмы финансирования)</a:t>
            </a:r>
          </a:p>
        </p:txBody>
      </p:sp>
    </p:spTree>
    <p:extLst>
      <p:ext uri="{BB962C8B-B14F-4D97-AF65-F5344CB8AC3E}">
        <p14:creationId xmlns:p14="http://schemas.microsoft.com/office/powerpoint/2010/main" val="231510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70850" y="2572871"/>
            <a:ext cx="773654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kk-KZ" sz="3733" b="1" kern="0" dirty="0">
                <a:solidFill>
                  <a:srgbClr val="4472C4">
                    <a:lumMod val="50000"/>
                  </a:srgbClr>
                </a:solidFill>
                <a:latin typeface="Arial"/>
                <a:cs typeface="Arial"/>
                <a:sym typeface="Arial"/>
              </a:rPr>
              <a:t>Спасибо за внимание!</a:t>
            </a:r>
            <a:endParaRPr lang="ru-RU" sz="3733" b="1" kern="0" dirty="0">
              <a:solidFill>
                <a:srgbClr val="4472C4">
                  <a:lumMod val="50000"/>
                </a:srgb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321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855133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500" name="Текст 2"/>
          <p:cNvSpPr txBox="1">
            <a:spLocks/>
          </p:cNvSpPr>
          <p:nvPr/>
        </p:nvSpPr>
        <p:spPr bwMode="auto">
          <a:xfrm>
            <a:off x="84668" y="1"/>
            <a:ext cx="11281833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9128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363" indent="-284163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413" indent="-227013" defTabSz="9128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613" indent="-227013" defTabSz="9128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813" indent="-227013" defTabSz="9128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30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02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74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4613" indent="-227013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defTabSz="1217054" fontAlgn="base">
              <a:spcAft>
                <a:spcPct val="0"/>
              </a:spcAft>
              <a:buClr>
                <a:srgbClr val="000000"/>
              </a:buClr>
              <a:buNone/>
            </a:pPr>
            <a:r>
              <a:rPr lang="kk-KZ" altLang="en-US" sz="24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ЦЕНКА прозрачности налогово-бюджетной сферы </a:t>
            </a:r>
          </a:p>
          <a:p>
            <a:pPr algn="just" defTabSz="1217054" fontAlgn="base">
              <a:spcAft>
                <a:spcPct val="0"/>
              </a:spcAft>
              <a:buClr>
                <a:srgbClr val="000000"/>
              </a:buClr>
              <a:buNone/>
            </a:pPr>
            <a:r>
              <a:rPr lang="kk-KZ" altLang="en-US" sz="1600" i="1" dirty="0">
                <a:solidFill>
                  <a:srgbClr val="0C467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 panose="020B0604020202020204" pitchFamily="34" charset="0"/>
              </a:rPr>
              <a:t>проведена МВФ с 24 января по 6 февраля 2023 года</a:t>
            </a:r>
            <a:endParaRPr lang="ru-RU" altLang="en-US" sz="1600" i="1" dirty="0">
              <a:solidFill>
                <a:srgbClr val="0C4672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9005BC3-3BB6-48E0-9F10-7588614A2000}"/>
              </a:ext>
            </a:extLst>
          </p:cNvPr>
          <p:cNvSpPr/>
          <p:nvPr/>
        </p:nvSpPr>
        <p:spPr>
          <a:xfrm>
            <a:off x="84668" y="980843"/>
            <a:ext cx="11948306" cy="790088"/>
          </a:xfrm>
          <a:prstGeom prst="rect">
            <a:avLst/>
          </a:prstGeom>
          <a:solidFill>
            <a:srgbClr val="DCE6F2"/>
          </a:solidFill>
          <a:ln>
            <a:noFill/>
          </a:ln>
          <a:scene3d>
            <a:camera prst="orthographicFront"/>
            <a:lightRig rig="threePt" dir="t"/>
          </a:scene3d>
          <a:sp3d>
            <a:contourClr>
              <a:schemeClr val="accent3">
                <a:lumMod val="20000"/>
                <a:lumOff val="80000"/>
              </a:schemeClr>
            </a:contourClr>
          </a:sp3d>
        </p:spPr>
        <p:txBody>
          <a:bodyPr wrap="square">
            <a:spAutoFit/>
          </a:bodyPr>
          <a:lstStyle/>
          <a:p>
            <a:pPr algn="just" defTabSz="1354573">
              <a:defRPr/>
            </a:pP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Цель </a:t>
            </a:r>
            <a:r>
              <a:rPr lang="ru-RU" sz="2270" kern="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иссии</a:t>
            </a: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ВФ - оценка прозрачности в </a:t>
            </a:r>
            <a:r>
              <a:rPr lang="ru-RU" sz="22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логово-бюджетной сфере </a:t>
            </a:r>
            <a:br>
              <a:rPr lang="ru-RU" sz="22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 представление рекомендаций по ее дальнейшему улучшению</a:t>
            </a:r>
          </a:p>
        </p:txBody>
      </p:sp>
      <p:sp>
        <p:nvSpPr>
          <p:cNvPr id="106502" name="Прямоугольник 11"/>
          <p:cNvSpPr>
            <a:spLocks noChangeArrowheads="1"/>
          </p:cNvSpPr>
          <p:nvPr/>
        </p:nvSpPr>
        <p:spPr bwMode="auto">
          <a:xfrm>
            <a:off x="1087967" y="1856317"/>
            <a:ext cx="9840384" cy="748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</a:pPr>
            <a:r>
              <a:rPr lang="ru-RU" altLang="en-US" sz="2133" b="1" dirty="0">
                <a:solidFill>
                  <a:srgbClr val="558E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Четыре основных компонента Кодекса прозрачности </a:t>
            </a:r>
            <a:br>
              <a:rPr lang="ru-RU" altLang="en-US" sz="2133" b="1" dirty="0">
                <a:solidFill>
                  <a:srgbClr val="558E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2133" b="1" dirty="0">
                <a:solidFill>
                  <a:srgbClr val="558E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 бюджетной-налоговой сфере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591029"/>
              </p:ext>
            </p:extLst>
          </p:nvPr>
        </p:nvGraphicFramePr>
        <p:xfrm>
          <a:off x="196851" y="2711451"/>
          <a:ext cx="11798301" cy="3874647"/>
        </p:xfrm>
        <a:graphic>
          <a:graphicData uri="http://schemas.openxmlformats.org/drawingml/2006/table">
            <a:tbl>
              <a:tblPr/>
              <a:tblGrid>
                <a:gridCol w="2103967">
                  <a:extLst>
                    <a:ext uri="{9D8B030D-6E8A-4147-A177-3AD203B41FA5}">
                      <a16:colId xmlns:a16="http://schemas.microsoft.com/office/drawing/2014/main" val="2282885317"/>
                    </a:ext>
                  </a:extLst>
                </a:gridCol>
                <a:gridCol w="3251200">
                  <a:extLst>
                    <a:ext uri="{9D8B030D-6E8A-4147-A177-3AD203B41FA5}">
                      <a16:colId xmlns:a16="http://schemas.microsoft.com/office/drawing/2014/main" val="2415877158"/>
                    </a:ext>
                  </a:extLst>
                </a:gridCol>
                <a:gridCol w="2855383">
                  <a:extLst>
                    <a:ext uri="{9D8B030D-6E8A-4147-A177-3AD203B41FA5}">
                      <a16:colId xmlns:a16="http://schemas.microsoft.com/office/drawing/2014/main" val="2813714441"/>
                    </a:ext>
                  </a:extLst>
                </a:gridCol>
                <a:gridCol w="3587751">
                  <a:extLst>
                    <a:ext uri="{9D8B030D-6E8A-4147-A177-3AD203B41FA5}">
                      <a16:colId xmlns:a16="http://schemas.microsoft.com/office/drawing/2014/main" val="38720653"/>
                    </a:ext>
                  </a:extLst>
                </a:gridCol>
              </a:tblGrid>
              <a:tr h="90677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. БЮДЖЕТНАЯ ОТЧЕТНОСТЬ</a:t>
                      </a: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I. НАЛОГОВО-БЮДЖЕТНЫЕ ПРОГНОЗЫ И СОСТАВЛЕНИЕ БЮДЖЕТА </a:t>
                      </a: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II. АНАЛИЗ БЮДЖЕТНЫХ РИСКОВ И УПРАВЛЕНИЕ ИМИ 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V. УПРАВЛЕНИЕ ПОСТУПЛЕНИЯМИ ОТ ПРИРОДНЫХ РЕСУРСОВ 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177394"/>
                  </a:ext>
                </a:extLst>
              </a:tr>
              <a:tr h="41909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Охват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Комплексность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Анализ риска и раскрытие информации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Права собственности на недра и права недропользования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262122"/>
                  </a:ext>
                </a:extLst>
              </a:tr>
              <a:tr h="689873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Периодичность и своевременность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Упорядоченность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Мобилизация поступлений от недропользования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806917"/>
                  </a:ext>
                </a:extLst>
              </a:tr>
              <a:tr h="88244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Качество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Ориентация мер политики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Управление рисками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Использование поступлений от природных ресурсов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426681"/>
                  </a:ext>
                </a:extLst>
              </a:tr>
              <a:tr h="768173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Объективность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Доверие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Координация налогово-бюджетной политики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Раскрытие информации о деятельности в области недропользования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449748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347200" y="6565355"/>
            <a:ext cx="2844800" cy="366183"/>
          </a:xfrm>
        </p:spPr>
        <p:txBody>
          <a:bodyPr/>
          <a:lstStyle/>
          <a:p>
            <a:pPr>
              <a:defRPr/>
            </a:pPr>
            <a:fld id="{8A170DF5-C04D-492E-AC44-6D7996261698}" type="slidenum">
              <a:rPr lang="ru-RU" sz="1200" smtClean="0">
                <a:solidFill>
                  <a:schemeClr val="tx1">
                    <a:lumMod val="85000"/>
                    <a:lumOff val="15000"/>
                  </a:schemeClr>
                </a:solidFill>
                <a:cs typeface="Arial" panose="020B0604020202020204" pitchFamily="34" charset="0"/>
              </a:rPr>
              <a:pPr>
                <a:defRPr/>
              </a:pPr>
              <a:t>4</a:t>
            </a:fld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66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C03584E-A01A-BE59-BF29-FAA431BE7A7B}"/>
              </a:ext>
            </a:extLst>
          </p:cNvPr>
          <p:cNvSpPr txBox="1">
            <a:spLocks/>
          </p:cNvSpPr>
          <p:nvPr/>
        </p:nvSpPr>
        <p:spPr>
          <a:xfrm>
            <a:off x="64662" y="95933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ОСНОВНЫЕ принципы и задачи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64662" y="702216"/>
            <a:ext cx="12219012" cy="5082151"/>
            <a:chOff x="84083" y="670122"/>
            <a:chExt cx="12219012" cy="5082151"/>
          </a:xfrm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9692AA96-2044-4283-9C12-9DFF63722B43}"/>
                </a:ext>
              </a:extLst>
            </p:cNvPr>
            <p:cNvSpPr/>
            <p:nvPr/>
          </p:nvSpPr>
          <p:spPr>
            <a:xfrm>
              <a:off x="84083" y="3074813"/>
              <a:ext cx="11820209" cy="2677460"/>
            </a:xfrm>
            <a:prstGeom prst="rect">
              <a:avLst/>
            </a:prstGeom>
          </p:spPr>
          <p:txBody>
            <a:bodyPr wrap="square" lIns="91195" tIns="45623" rIns="91195" bIns="45623">
              <a:spAutoFit/>
            </a:bodyPr>
            <a:lstStyle/>
            <a:p>
              <a:pPr marL="134398" lvl="0" algn="just" defTabSz="515074">
                <a:spcAft>
                  <a:spcPts val="800"/>
                </a:spcAft>
                <a:tabLst>
                  <a:tab pos="199830" algn="l"/>
                </a:tabLst>
                <a:defRPr/>
              </a:pPr>
              <a:r>
                <a:rPr lang="ru-RU" sz="2000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Построение целостной системы бюджетирования путем: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УСТАНОВЛЕНИЯ</a:t>
              </a:r>
              <a:r>
                <a:rPr lang="ru-RU" dirty="0">
                  <a:solidFill>
                    <a:prstClr val="black"/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документов Системы госпланирования, участвующих в бюджетном процессе 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УЧЕТА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параметров госфинансов на долгосрочный период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ФОРМИРОВАНИЯ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бюджета исходя из целей и с соблюдением ранее принятых решений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ПРИМЕНЕНИЯ</a:t>
              </a:r>
              <a:r>
                <a:rPr lang="ru-RU" dirty="0">
                  <a:solidFill>
                    <a:prstClr val="black"/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результатов мониторинга, оценки 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УСИЛЕНИЯ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транспарентности и подотчетности</a:t>
              </a:r>
            </a:p>
            <a:p>
              <a:pPr marL="591145" indent="-456747" algn="just" defTabSz="515074">
                <a:spcAft>
                  <a:spcPts val="800"/>
                </a:spcAft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УВЯЗКИ </a:t>
              </a:r>
              <a:r>
                <a:rPr lang="ru-RU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Tahoma" panose="020B0604030504040204" pitchFamily="34" charset="0"/>
                  <a:sym typeface="Arial"/>
                </a:rPr>
                <a:t>всех процессов между собой</a:t>
              </a: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9692AA96-2044-4283-9C12-9DFF63722B43}"/>
                </a:ext>
              </a:extLst>
            </p:cNvPr>
            <p:cNvSpPr/>
            <p:nvPr/>
          </p:nvSpPr>
          <p:spPr>
            <a:xfrm>
              <a:off x="111095" y="670122"/>
              <a:ext cx="12192000" cy="1918278"/>
            </a:xfrm>
            <a:prstGeom prst="rect">
              <a:avLst/>
            </a:prstGeom>
          </p:spPr>
          <p:txBody>
            <a:bodyPr wrap="square" lIns="91195" tIns="45623" rIns="91195" bIns="45623">
              <a:spAutoFit/>
            </a:bodyPr>
            <a:lstStyle/>
            <a:p>
              <a:pPr marL="134398" algn="just" defTabSz="515074">
                <a:spcAft>
                  <a:spcPts val="800"/>
                </a:spcAft>
                <a:tabLst>
                  <a:tab pos="199830" algn="l"/>
                </a:tabLst>
                <a:defRPr/>
              </a:pPr>
              <a:r>
                <a:rPr lang="ru-RU" sz="2000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Принципы разработки нового Бюджетного кодекса</a:t>
              </a:r>
            </a:p>
            <a:p>
              <a:pPr marL="477298" indent="-342900" algn="just" defTabSz="515074">
                <a:spcAft>
                  <a:spcPts val="800"/>
                </a:spcAft>
                <a:buAutoNum type="arabicPeriod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реемственность </a:t>
              </a:r>
              <a:r>
                <a:rPr lang="ru-RU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 действующим бюджетным законодательством</a:t>
              </a:r>
            </a:p>
            <a:p>
              <a:pPr marL="477298" indent="-342900" algn="just" defTabSz="515074">
                <a:spcAft>
                  <a:spcPts val="800"/>
                </a:spcAft>
                <a:buAutoNum type="arabicPeriod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сширение </a:t>
              </a:r>
              <a:r>
                <a:rPr lang="ru-RU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границ регулирования</a:t>
              </a:r>
            </a:p>
            <a:p>
              <a:pPr marL="477298" indent="-342900" algn="just" defTabSz="515074">
                <a:spcAft>
                  <a:spcPts val="800"/>
                </a:spcAft>
                <a:buAutoNum type="arabicPeriod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риентация </a:t>
              </a:r>
              <a:r>
                <a:rPr lang="ru-RU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на международные стандарты и требования</a:t>
              </a:r>
            </a:p>
            <a:p>
              <a:pPr marL="477298" indent="-342900" algn="just" defTabSz="515074">
                <a:spcAft>
                  <a:spcPts val="800"/>
                </a:spcAft>
                <a:buAutoNum type="arabicPeriod"/>
                <a:tabLst>
                  <a:tab pos="199830" algn="l"/>
                </a:tabLst>
                <a:defRPr/>
              </a:pPr>
              <a:r>
                <a:rPr lang="ru-RU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онятное изложение </a:t>
              </a:r>
              <a:r>
                <a:rPr lang="ru-RU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ля самостоятельного применения участниками бюджетного процесса</a:t>
              </a:r>
            </a:p>
          </p:txBody>
        </p:sp>
        <p:cxnSp>
          <p:nvCxnSpPr>
            <p:cNvPr id="7" name="Прямая соединительная линия 6"/>
            <p:cNvCxnSpPr>
              <a:cxnSpLocks/>
            </p:cNvCxnSpPr>
            <p:nvPr/>
          </p:nvCxnSpPr>
          <p:spPr>
            <a:xfrm flipH="1" flipV="1">
              <a:off x="175757" y="2815318"/>
              <a:ext cx="11825743" cy="41337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2429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79113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54017332-EFEA-43E6-AC8B-60051316F986}"/>
              </a:ext>
            </a:extLst>
          </p:cNvPr>
          <p:cNvCxnSpPr>
            <a:cxnSpLocks/>
          </p:cNvCxnSpPr>
          <p:nvPr/>
        </p:nvCxnSpPr>
        <p:spPr>
          <a:xfrm>
            <a:off x="5471670" y="689004"/>
            <a:ext cx="23731" cy="6040104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87088" y="34312"/>
            <a:ext cx="9098194" cy="492134"/>
          </a:xfrm>
          <a:prstGeom prst="rect">
            <a:avLst/>
          </a:prstGeom>
          <a:noFill/>
        </p:spPr>
        <p:txBody>
          <a:bodyPr wrap="square" lIns="121615" tIns="60807" rIns="121615" bIns="60807" rtlCol="0">
            <a:spAutoFit/>
          </a:bodyPr>
          <a:lstStyle/>
          <a:p>
            <a:pPr defTabSz="1199033"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ТРУКТУРА нового Бюджетного кодекса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104742" y="594205"/>
            <a:ext cx="11859444" cy="6134903"/>
            <a:chOff x="94909" y="579114"/>
            <a:chExt cx="11859444" cy="6134903"/>
          </a:xfrm>
        </p:grpSpPr>
        <p:sp>
          <p:nvSpPr>
            <p:cNvPr id="15" name="TextBox 14"/>
            <p:cNvSpPr txBox="1"/>
            <p:nvPr/>
          </p:nvSpPr>
          <p:spPr>
            <a:xfrm>
              <a:off x="7512387" y="579114"/>
              <a:ext cx="2739196" cy="318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ru-RU" sz="1467" b="1" dirty="0">
                  <a:solidFill>
                    <a:srgbClr val="188CE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АЗДЕЛЫ, ГЛАВЫ</a:t>
              </a:r>
            </a:p>
          </p:txBody>
        </p:sp>
        <p:grpSp>
          <p:nvGrpSpPr>
            <p:cNvPr id="12" name="Группа 11"/>
            <p:cNvGrpSpPr/>
            <p:nvPr/>
          </p:nvGrpSpPr>
          <p:grpSpPr>
            <a:xfrm>
              <a:off x="94909" y="827302"/>
              <a:ext cx="5275488" cy="5384596"/>
              <a:chOff x="94909" y="827302"/>
              <a:chExt cx="5275488" cy="5384596"/>
            </a:xfrm>
          </p:grpSpPr>
          <p:grpSp>
            <p:nvGrpSpPr>
              <p:cNvPr id="8" name="Группа 7"/>
              <p:cNvGrpSpPr/>
              <p:nvPr/>
            </p:nvGrpSpPr>
            <p:grpSpPr>
              <a:xfrm>
                <a:off x="94909" y="827302"/>
                <a:ext cx="5251052" cy="2670211"/>
                <a:chOff x="94909" y="827302"/>
                <a:chExt cx="5251052" cy="2670211"/>
              </a:xfrm>
            </p:grpSpPr>
            <p:graphicFrame>
              <p:nvGraphicFramePr>
                <p:cNvPr id="18" name="Диаграмма 17"/>
                <p:cNvGraphicFramePr>
                  <a:graphicFrameLocks/>
                </p:cNvGraphicFramePr>
                <p:nvPr>
                  <p:extLst/>
                </p:nvPr>
              </p:nvGraphicFramePr>
              <p:xfrm>
                <a:off x="94909" y="1224666"/>
                <a:ext cx="5251052" cy="227284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19" name="TextBox 18"/>
                <p:cNvSpPr txBox="1"/>
                <p:nvPr/>
              </p:nvSpPr>
              <p:spPr>
                <a:xfrm>
                  <a:off x="1269169" y="1576652"/>
                  <a:ext cx="1080896" cy="467820"/>
                </a:xfrm>
                <a:prstGeom prst="rect">
                  <a:avLst/>
                </a:prstGeom>
                <a:noFill/>
              </p:spPr>
              <p:txBody>
                <a:bodyPr wrap="square" lIns="0" tIns="48768" rIns="0" bIns="0" rtlCol="0">
                  <a:spAutoFit/>
                </a:bodyPr>
                <a:lstStyle/>
                <a:p>
                  <a:pPr algn="ctr" defTabSz="1219170">
                    <a:lnSpc>
                      <a:spcPct val="85000"/>
                    </a:lnSpc>
                    <a:spcAft>
                      <a:spcPts val="800"/>
                    </a:spcAft>
                    <a:buClr>
                      <a:srgbClr val="ED7D31"/>
                    </a:buClr>
                    <a:buSzPct val="70000"/>
                    <a:defRPr/>
                  </a:pPr>
                  <a:r>
                    <a:rPr lang="ru-RU" sz="3200" b="1" kern="0" dirty="0">
                      <a:solidFill>
                        <a:srgbClr val="70AD47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-</a:t>
                  </a:r>
                  <a:r>
                    <a:rPr lang="en-US" sz="3200" b="1" kern="0" dirty="0">
                      <a:solidFill>
                        <a:srgbClr val="70AD47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28</a:t>
                  </a:r>
                  <a:r>
                    <a:rPr lang="ru-RU" sz="3200" b="1" kern="0" dirty="0">
                      <a:solidFill>
                        <a:srgbClr val="70AD47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%</a:t>
                  </a:r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311753" y="827302"/>
                  <a:ext cx="3543758" cy="232371"/>
                </a:xfrm>
                <a:prstGeom prst="rect">
                  <a:avLst/>
                </a:prstGeom>
                <a:noFill/>
              </p:spPr>
              <p:txBody>
                <a:bodyPr wrap="square" lIns="0" tIns="48768" rIns="0" bIns="0" rtlCol="0">
                  <a:spAutoFit/>
                </a:bodyPr>
                <a:lstStyle/>
                <a:p>
                  <a:pPr defTabSz="1219170">
                    <a:lnSpc>
                      <a:spcPct val="85000"/>
                    </a:lnSpc>
                    <a:spcAft>
                      <a:spcPts val="800"/>
                    </a:spcAft>
                    <a:buClr>
                      <a:srgbClr val="ED7D31"/>
                    </a:buClr>
                    <a:buSzPct val="70000"/>
                    <a:defRPr/>
                  </a:pPr>
                  <a:r>
                    <a:rPr lang="ru-RU" sz="1400" b="1" dirty="0">
                      <a:solidFill>
                        <a:srgbClr val="188CE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Оптимизация содержания </a:t>
                  </a:r>
                </a:p>
              </p:txBody>
            </p:sp>
          </p:grpSp>
          <p:grpSp>
            <p:nvGrpSpPr>
              <p:cNvPr id="10" name="Группа 9"/>
              <p:cNvGrpSpPr/>
              <p:nvPr/>
            </p:nvGrpSpPr>
            <p:grpSpPr>
              <a:xfrm>
                <a:off x="134214" y="3623133"/>
                <a:ext cx="5236183" cy="2588765"/>
                <a:chOff x="134214" y="3623133"/>
                <a:chExt cx="5236183" cy="2588765"/>
              </a:xfrm>
            </p:grpSpPr>
            <p:sp>
              <p:nvSpPr>
                <p:cNvPr id="23" name="Прямоугольник 22"/>
                <p:cNvSpPr/>
                <p:nvPr/>
              </p:nvSpPr>
              <p:spPr>
                <a:xfrm>
                  <a:off x="134214" y="3623133"/>
                  <a:ext cx="5236183" cy="574402"/>
                </a:xfrm>
                <a:prstGeom prst="rect">
                  <a:avLst/>
                </a:prstGeom>
              </p:spPr>
              <p:txBody>
                <a:bodyPr wrap="square" lIns="121681" tIns="60840" rIns="121681" bIns="60840">
                  <a:spAutoFit/>
                </a:bodyPr>
                <a:lstStyle/>
                <a:p>
                  <a:pPr marL="0" lvl="1" defTabSz="913477">
                    <a:buClr>
                      <a:srgbClr val="002960"/>
                    </a:buClr>
                    <a:defRPr/>
                  </a:pPr>
                  <a:r>
                    <a:rPr lang="ru-RU" sz="1467" b="1" kern="0" dirty="0">
                      <a:solidFill>
                        <a:srgbClr val="188CE5">
                          <a:lumMod val="50000"/>
                        </a:srgbClr>
                      </a:solidFill>
                      <a:latin typeface="Arial" panose="020B0604020202020204" pitchFamily="34" charset="0"/>
                      <a:ea typeface="ＭＳ Ｐゴシック"/>
                      <a:cs typeface="Arial" panose="020B0604020202020204" pitchFamily="34" charset="0"/>
                      <a:sym typeface="Arial"/>
                    </a:rPr>
                    <a:t>Более гибкий, рамочный документ, определяющий основополагающие нормы бюджетирования за счет:</a:t>
                  </a: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233481" y="4348553"/>
                  <a:ext cx="5037647" cy="1863345"/>
                </a:xfrm>
                <a:prstGeom prst="rect">
                  <a:avLst/>
                </a:prstGeom>
                <a:noFill/>
              </p:spPr>
              <p:txBody>
                <a:bodyPr wrap="square" lIns="121681" tIns="60840" rIns="121681" bIns="60840" rtlCol="0">
                  <a:spAutoFit/>
                </a:bodyPr>
                <a:lstStyle/>
                <a:p>
                  <a:pPr marL="475032" indent="-475032" defTabSz="919716"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400"/>
                    </a:spcAft>
                    <a:buClr>
                      <a:schemeClr val="tx1">
                        <a:lumMod val="75000"/>
                        <a:lumOff val="25000"/>
                      </a:schemeClr>
                    </a:buClr>
                    <a:buSzPct val="70000"/>
                    <a:buFont typeface="Wingdings" panose="05000000000000000000" pitchFamily="2" charset="2"/>
                    <a:buChar char="§"/>
                    <a:defRPr/>
                  </a:pPr>
                  <a:r>
                    <a:rPr lang="ru-RU" sz="1467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структурирования статей и глав</a:t>
                  </a:r>
                </a:p>
                <a:p>
                  <a:pPr marL="475032" indent="-475032" defTabSz="919716"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400"/>
                    </a:spcAft>
                    <a:buClr>
                      <a:schemeClr val="tx1">
                        <a:lumMod val="75000"/>
                        <a:lumOff val="25000"/>
                      </a:schemeClr>
                    </a:buClr>
                    <a:buSzPct val="70000"/>
                    <a:buFont typeface="Wingdings" panose="05000000000000000000" pitchFamily="2" charset="2"/>
                    <a:buChar char="§"/>
                    <a:defRPr/>
                  </a:pPr>
                  <a:r>
                    <a:rPr lang="ru-RU" sz="1467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сокращения содержания статей с переносом детализирующих норм в подзаконные НПА</a:t>
                  </a:r>
                </a:p>
                <a:p>
                  <a:pPr marL="475032" indent="-475032" defTabSz="919716"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400"/>
                    </a:spcAft>
                    <a:buClr>
                      <a:schemeClr val="tx1">
                        <a:lumMod val="75000"/>
                        <a:lumOff val="25000"/>
                      </a:schemeClr>
                    </a:buClr>
                    <a:buSzPct val="70000"/>
                    <a:buFont typeface="Wingdings" panose="05000000000000000000" pitchFamily="2" charset="2"/>
                    <a:buChar char="§"/>
                    <a:defRPr/>
                  </a:pPr>
                  <a:r>
                    <a:rPr lang="ru-RU" sz="1467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систематизации понятий, терминов</a:t>
                  </a:r>
                </a:p>
                <a:p>
                  <a:pPr marL="475032" indent="-475032" defTabSz="919716"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400"/>
                    </a:spcAft>
                    <a:buClr>
                      <a:schemeClr val="tx1">
                        <a:lumMod val="75000"/>
                        <a:lumOff val="25000"/>
                      </a:schemeClr>
                    </a:buClr>
                    <a:buSzPct val="70000"/>
                    <a:buFont typeface="Wingdings" panose="05000000000000000000" pitchFamily="2" charset="2"/>
                    <a:buChar char="§"/>
                    <a:defRPr/>
                  </a:pPr>
                  <a:r>
                    <a:rPr lang="ru-RU" sz="1467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оптимизации понятийного аппарата и принципов с адаптацией их к системе госфинансов</a:t>
                  </a:r>
                </a:p>
                <a:p>
                  <a:pPr marL="475032" indent="-475032" defTabSz="919716"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400"/>
                    </a:spcAft>
                    <a:buClr>
                      <a:schemeClr val="tx1">
                        <a:lumMod val="75000"/>
                        <a:lumOff val="25000"/>
                      </a:schemeClr>
                    </a:buClr>
                    <a:buSzPct val="70000"/>
                    <a:buFont typeface="Wingdings" panose="05000000000000000000" pitchFamily="2" charset="2"/>
                    <a:buChar char="§"/>
                    <a:defRPr/>
                  </a:pPr>
                  <a:r>
                    <a:rPr lang="ru-RU" sz="1467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/>
                    </a:rPr>
                    <a:t>определения роли участников бюджетного процесса</a:t>
                  </a:r>
                </a:p>
              </p:txBody>
            </p:sp>
          </p:grpSp>
        </p:grpSp>
        <p:grpSp>
          <p:nvGrpSpPr>
            <p:cNvPr id="11" name="Группа 10"/>
            <p:cNvGrpSpPr/>
            <p:nvPr/>
          </p:nvGrpSpPr>
          <p:grpSpPr>
            <a:xfrm>
              <a:off x="5671796" y="827302"/>
              <a:ext cx="6282557" cy="5886715"/>
              <a:chOff x="5671796" y="827302"/>
              <a:chExt cx="6282557" cy="5886715"/>
            </a:xfrm>
          </p:grpSpPr>
          <p:sp>
            <p:nvSpPr>
              <p:cNvPr id="3" name="Прямоугольник 2"/>
              <p:cNvSpPr/>
              <p:nvPr/>
            </p:nvSpPr>
            <p:spPr>
              <a:xfrm>
                <a:off x="5671796" y="827302"/>
                <a:ext cx="6282557" cy="545950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20648" indent="-120648" algn="just" defTabSz="1199033">
                  <a:tabLst>
                    <a:tab pos="267963" algn="l"/>
                  </a:tabLst>
                  <a:defRPr/>
                </a:pPr>
                <a:r>
                  <a:rPr lang="ru-RU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1. ОСНОВНЫЕ ПОЛОЖЕНИЯ </a:t>
                </a:r>
              </a:p>
              <a:p>
                <a:pPr marL="120648" indent="-120648" algn="just" defTabSz="1199033">
                  <a:tabLst>
                    <a:tab pos="267963" algn="l"/>
                  </a:tabLst>
                  <a:defRPr/>
                </a:pPr>
                <a:r>
                  <a:rPr lang="ru-RU" sz="1200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2. ОСНОВЫ БЮДЖЕТИРОВАНИЯ   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система государственного планирования 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подотчетность и транспарентность</a:t>
                </a:r>
                <a:r>
                  <a:rPr lang="ru-RU" sz="1067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 </a:t>
                </a:r>
                <a:r>
                  <a:rPr lang="ru-RU" sz="1067" b="1" i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- </a:t>
                </a:r>
                <a:r>
                  <a:rPr lang="ru-RU" sz="1067" i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публикация и обсуждение документов, ответственность участников бюджетного процесса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управление результатами</a:t>
                </a:r>
              </a:p>
              <a:p>
                <a:pPr algn="just" defTabSz="1199033">
                  <a:tabLst>
                    <a:tab pos="267963" algn="l"/>
                  </a:tabLst>
                  <a:defRPr/>
                </a:pPr>
                <a:r>
                  <a:rPr lang="ru-RU" sz="1200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3. УПРАВЛЕНИЕ ГОСФИНАНСАМИ</a:t>
                </a:r>
              </a:p>
              <a:p>
                <a:pPr marL="770559" lvl="1" indent="-171252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основы управления госфинансами</a:t>
                </a:r>
              </a:p>
              <a:p>
                <a:pPr marL="770559" lvl="1" indent="-171252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Национальный фонд </a:t>
                </a:r>
              </a:p>
              <a:p>
                <a:pPr marL="770559" lvl="1" indent="-171252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внебюджетные фонды</a:t>
                </a:r>
              </a:p>
              <a:p>
                <a:pPr marL="770559" lvl="1" indent="-171252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2DB757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квазигосударственный сектор</a:t>
                </a:r>
              </a:p>
              <a:p>
                <a:pPr marL="120648" indent="-120648" defTabSz="1199033">
                  <a:tabLst>
                    <a:tab pos="267963" algn="l"/>
                  </a:tabLst>
                  <a:defRPr/>
                </a:pPr>
                <a:r>
                  <a:rPr lang="ru-RU" sz="1200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4. РАЗРАБОТКА, РАССМОТРЕНИЕ, УТВЕРЖДЕНИЕ, УТОЧНЕНИЕ,        КОРРЕКТИРОВКА, СЕКВЕСТР БЮДЖЕТА</a:t>
                </a:r>
                <a:r>
                  <a:rPr lang="ru-RU" sz="1200" b="1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 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общие положения о планировании бюджета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межбюджетные отношения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процесс разработки бюджета</a:t>
                </a:r>
              </a:p>
              <a:p>
                <a:pPr marL="770559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основные положения процесса рассмотрения и утверждения проекта бюджета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уточнение бюджета</a:t>
                </a:r>
              </a:p>
              <a:p>
                <a:pPr marL="770559" lvl="1" indent="-171252" algn="just" defTabSz="1199033">
                  <a:buClr>
                    <a:prstClr val="black">
                      <a:lumMod val="75000"/>
                      <a:lumOff val="25000"/>
                    </a:prstClr>
                  </a:buClr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секвестр и </a:t>
                </a:r>
                <a:r>
                  <a:rPr lang="ru-RU" sz="1067" b="1" dirty="0">
                    <a:solidFill>
                      <a:srgbClr val="188CE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корректировка бюджета</a:t>
                </a:r>
              </a:p>
              <a:p>
                <a:pPr marL="770559" lvl="1" indent="-171252" algn="just" defTabSz="1199033">
                  <a:buClr>
                    <a:prstClr val="black">
                      <a:lumMod val="75000"/>
                      <a:lumOff val="25000"/>
                    </a:prstClr>
                  </a:buClr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разработка, введение или прекращение действия чрезвычайного государственного бюджета</a:t>
                </a:r>
              </a:p>
              <a:p>
                <a:pPr algn="just" defTabSz="1199033">
                  <a:tabLst>
                    <a:tab pos="267963" algn="l"/>
                  </a:tabLst>
                  <a:defRPr/>
                </a:pPr>
                <a:r>
                  <a:rPr lang="ru-RU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5.</a:t>
                </a:r>
                <a:r>
                  <a:rPr lang="ru-RU" sz="12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 </a:t>
                </a:r>
                <a:r>
                  <a:rPr lang="ru-RU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ИСПОЛНЕНИЕ БЮДЖЕТА </a:t>
                </a:r>
              </a:p>
              <a:p>
                <a:pPr marL="770559" lvl="1" indent="-171252" algn="just" defTabSz="1199033">
                  <a:buClr>
                    <a:prstClr val="black">
                      <a:lumMod val="75000"/>
                      <a:lumOff val="25000"/>
                    </a:prstClr>
                  </a:buClr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общие положения об исполнении бюджета</a:t>
                </a:r>
              </a:p>
              <a:p>
                <a:pPr marL="770559" lvl="1" indent="-171252" algn="just" defTabSz="1199033">
                  <a:buFont typeface="Arial" panose="020B0604020202020204" pitchFamily="34" charset="0"/>
                  <a:buChar char="•"/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казначейское исполнение бюджета</a:t>
                </a:r>
              </a:p>
              <a:p>
                <a:pPr algn="just" defTabSz="1199033">
                  <a:spcAft>
                    <a:spcPts val="400"/>
                  </a:spcAft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6. БЮДЖЕТНЫЙ УЧЕТ </a:t>
                </a: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И ОТЧЕТНОСТЬ         </a:t>
                </a:r>
              </a:p>
              <a:p>
                <a:pPr algn="just" defTabSz="1199033">
                  <a:spcAft>
                    <a:spcPts val="400"/>
                  </a:spcAft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7. СИСТЕМА БУХГАЛТЕРСКОГО УЧЕТА И </a:t>
                </a: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ФИНАНСОВОЙ ОТЧЕТНОСТИ</a:t>
                </a:r>
              </a:p>
              <a:p>
                <a:pPr algn="just" defTabSz="1199033">
                  <a:spcAft>
                    <a:spcPts val="400"/>
                  </a:spcAft>
                  <a:tabLst>
                    <a:tab pos="267963" algn="l"/>
                  </a:tabLst>
                  <a:defRPr/>
                </a:pPr>
                <a:r>
                  <a:rPr lang="ru-RU" sz="1067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8. </a:t>
                </a: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ГОСУДАРСТВЕННЫЕ И ГАРАНТИРОВАННЫЕ ГОСУДАРСТВОМ ЗАИМСТВОВАНИЕ И ДОЛГ, ПОРУЧИТЕЛЬСТВО ГОСУДАРСТВА, ГОСУДАРСТВЕННЫЕ ИНВЕСТИЦИОННЫЕ ПРОЕКТЫ, БЮДЖЕТНОЕ КРЕДИТОВАНИЕ, ГРАНТЫ</a:t>
                </a:r>
              </a:p>
              <a:p>
                <a:pPr algn="just" defTabSz="1199033">
                  <a:spcAft>
                    <a:spcPts val="400"/>
                  </a:spcAft>
                  <a:tabLst>
                    <a:tab pos="267963" algn="l"/>
                  </a:tabLst>
                  <a:defRPr/>
                </a:pPr>
                <a:r>
                  <a:rPr lang="ru-RU" sz="1067" b="1" dirty="0">
                    <a:solidFill>
                      <a:srgbClr val="0C4672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Arial"/>
                  </a:rPr>
                  <a:t>9. ЗАКЛЮЧИТЕЛЬНЫЕ И ПЕРЕХОДНЫЕ ПОЛОЖЕНИЯ</a:t>
                </a:r>
              </a:p>
            </p:txBody>
          </p:sp>
          <p:grpSp>
            <p:nvGrpSpPr>
              <p:cNvPr id="4" name="Группа 3"/>
              <p:cNvGrpSpPr/>
              <p:nvPr/>
            </p:nvGrpSpPr>
            <p:grpSpPr>
              <a:xfrm>
                <a:off x="5734036" y="6235828"/>
                <a:ext cx="6158076" cy="478189"/>
                <a:chOff x="5796277" y="6332589"/>
                <a:chExt cx="6158076" cy="478189"/>
              </a:xfrm>
            </p:grpSpPr>
            <p:sp>
              <p:nvSpPr>
                <p:cNvPr id="31" name="TextBox 10"/>
                <p:cNvSpPr txBox="1">
                  <a:spLocks noChangeArrowheads="1"/>
                </p:cNvSpPr>
                <p:nvPr/>
              </p:nvSpPr>
              <p:spPr bwMode="auto">
                <a:xfrm>
                  <a:off x="5796277" y="6375710"/>
                  <a:ext cx="903626" cy="177800"/>
                </a:xfrm>
                <a:prstGeom prst="rect">
                  <a:avLst/>
                </a:prstGeom>
                <a:solidFill>
                  <a:srgbClr val="23864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36576" rIns="0" bIns="0">
                  <a:spAutoFit/>
                </a:bodyPr>
                <a:lstStyle>
                  <a:lvl1pPr marL="355600" indent="-355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1pPr>
                  <a:lvl2pPr marL="742950" indent="-28575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2pPr>
                  <a:lvl3pPr marL="11430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3pPr>
                  <a:lvl4pPr marL="16002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4pPr>
                  <a:lvl5pPr marL="20574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5pPr>
                  <a:lvl6pPr marL="25146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6pPr>
                  <a:lvl7pPr marL="29718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7pPr>
                  <a:lvl8pPr marL="34290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8pPr>
                  <a:lvl9pPr marL="38862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9pPr>
                </a:lstStyle>
                <a:p>
                  <a:pPr eaLnBrk="1" hangingPunct="1">
                    <a:lnSpc>
                      <a:spcPct val="85000"/>
                    </a:lnSpc>
                    <a:spcAft>
                      <a:spcPts val="600"/>
                    </a:spcAft>
                    <a:buClr>
                      <a:srgbClr val="27ACAA"/>
                    </a:buClr>
                    <a:buSzPct val="70000"/>
                    <a:buFont typeface="Arial" panose="020B0604020202020204" pitchFamily="34" charset="0"/>
                    <a:buChar char="►"/>
                  </a:pPr>
                  <a:endParaRPr lang="ru-RU" altLang="en-US" sz="1000">
                    <a:solidFill>
                      <a:srgbClr val="2E2E38"/>
                    </a:solidFill>
                  </a:endParaRPr>
                </a:p>
              </p:txBody>
            </p:sp>
            <p:sp>
              <p:nvSpPr>
                <p:cNvPr id="32" name="TextBox 11"/>
                <p:cNvSpPr txBox="1">
                  <a:spLocks noChangeArrowheads="1"/>
                </p:cNvSpPr>
                <p:nvPr/>
              </p:nvSpPr>
              <p:spPr bwMode="auto">
                <a:xfrm>
                  <a:off x="6824907" y="6332589"/>
                  <a:ext cx="3626373" cy="1677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36576" rIns="0" bIns="0">
                  <a:spAutoFit/>
                </a:bodyPr>
                <a:lstStyle>
                  <a:lvl1pPr defTabSz="688975">
                    <a:lnSpc>
                      <a:spcPct val="90000"/>
                    </a:lnSpc>
                    <a:spcBef>
                      <a:spcPts val="750"/>
                    </a:spcBef>
                    <a:buFont typeface="Arial" panose="020B0604020202020204" pitchFamily="34" charset="0"/>
                    <a:buChar char="•"/>
                    <a:defRPr sz="21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5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eaLnBrk="1" hangingPunct="1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600"/>
                    </a:spcAft>
                    <a:buClr>
                      <a:srgbClr val="27ACAA"/>
                    </a:buClr>
                    <a:buSzPct val="70000"/>
                    <a:buFont typeface="Arial" panose="020B0604020202020204" pitchFamily="34" charset="0"/>
                    <a:buNone/>
                  </a:pPr>
                  <a:r>
                    <a:rPr lang="ru-RU" altLang="en-US" sz="1000" b="1" dirty="0">
                      <a:solidFill>
                        <a:srgbClr val="2E2E38"/>
                      </a:solidFill>
                      <a:latin typeface="Arial" panose="020B0604020202020204" pitchFamily="34" charset="0"/>
                    </a:rPr>
                    <a:t>Новые положения </a:t>
                  </a:r>
                </a:p>
              </p:txBody>
            </p:sp>
            <p:sp>
              <p:nvSpPr>
                <p:cNvPr id="33" name="TextBox 12"/>
                <p:cNvSpPr txBox="1">
                  <a:spLocks noChangeArrowheads="1"/>
                </p:cNvSpPr>
                <p:nvPr/>
              </p:nvSpPr>
              <p:spPr bwMode="auto">
                <a:xfrm>
                  <a:off x="5796277" y="6577637"/>
                  <a:ext cx="903626" cy="167738"/>
                </a:xfrm>
                <a:prstGeom prst="rect">
                  <a:avLst/>
                </a:prstGeom>
                <a:solidFill>
                  <a:srgbClr val="4171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36576" rIns="0" bIns="0">
                  <a:spAutoFit/>
                </a:bodyPr>
                <a:lstStyle>
                  <a:lvl1pPr marL="355600" indent="-355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1pPr>
                  <a:lvl2pPr marL="742950" indent="-28575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2pPr>
                  <a:lvl3pPr marL="11430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3pPr>
                  <a:lvl4pPr marL="16002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4pPr>
                  <a:lvl5pPr marL="2057400" indent="-228600" defTabSz="688975"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5pPr>
                  <a:lvl6pPr marL="25146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6pPr>
                  <a:lvl7pPr marL="29718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7pPr>
                  <a:lvl8pPr marL="34290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8pPr>
                  <a:lvl9pPr marL="3886200" indent="-228600" defTabSz="688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9pPr>
                </a:lstStyle>
                <a:p>
                  <a:pPr eaLnBrk="1" hangingPunct="1">
                    <a:lnSpc>
                      <a:spcPct val="85000"/>
                    </a:lnSpc>
                    <a:spcAft>
                      <a:spcPts val="600"/>
                    </a:spcAft>
                    <a:buClr>
                      <a:srgbClr val="27ACAA"/>
                    </a:buClr>
                    <a:buSzPct val="70000"/>
                    <a:buFont typeface="Arial" panose="020B0604020202020204" pitchFamily="34" charset="0"/>
                    <a:buChar char="►"/>
                  </a:pPr>
                  <a:endParaRPr lang="ru-RU" altLang="en-US" sz="1000" dirty="0">
                    <a:solidFill>
                      <a:srgbClr val="2E2E38"/>
                    </a:solidFill>
                  </a:endParaRPr>
                </a:p>
              </p:txBody>
            </p:sp>
            <p:sp>
              <p:nvSpPr>
                <p:cNvPr id="34" name="TextBox 13"/>
                <p:cNvSpPr txBox="1">
                  <a:spLocks noChangeArrowheads="1"/>
                </p:cNvSpPr>
                <p:nvPr/>
              </p:nvSpPr>
              <p:spPr bwMode="auto">
                <a:xfrm>
                  <a:off x="6824907" y="6512235"/>
                  <a:ext cx="5129446" cy="29854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36576" rIns="0" bIns="0">
                  <a:spAutoFit/>
                </a:bodyPr>
                <a:lstStyle>
                  <a:lvl1pPr defTabSz="688975">
                    <a:lnSpc>
                      <a:spcPct val="90000"/>
                    </a:lnSpc>
                    <a:spcBef>
                      <a:spcPts val="750"/>
                    </a:spcBef>
                    <a:buFont typeface="Arial" panose="020B0604020202020204" pitchFamily="34" charset="0"/>
                    <a:buChar char="•"/>
                    <a:defRPr sz="21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1pPr>
                  <a:lvl2pPr marL="742950" indent="-28575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2pPr>
                  <a:lvl3pPr marL="11430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5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3pPr>
                  <a:lvl4pPr marL="16002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4pPr>
                  <a:lvl5pPr marL="2057400" indent="-228600" defTabSz="688975">
                    <a:lnSpc>
                      <a:spcPct val="90000"/>
                    </a:lnSpc>
                    <a:spcBef>
                      <a:spcPts val="375"/>
                    </a:spcBef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5pPr>
                  <a:lvl6pPr marL="25146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6pPr>
                  <a:lvl7pPr marL="29718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7pPr>
                  <a:lvl8pPr marL="34290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8pPr>
                  <a:lvl9pPr marL="3886200" indent="-228600" defTabSz="688975" eaLnBrk="0" fontAlgn="base" hangingPunct="0">
                    <a:lnSpc>
                      <a:spcPct val="90000"/>
                    </a:lnSpc>
                    <a:spcBef>
                      <a:spcPts val="375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 sz="1400">
                      <a:solidFill>
                        <a:schemeClr val="tx1"/>
                      </a:solidFill>
                      <a:latin typeface="Calibri" panose="020F0502020204030204" pitchFamily="34" charset="0"/>
                    </a:defRPr>
                  </a:lvl9pPr>
                </a:lstStyle>
                <a:p>
                  <a:pPr eaLnBrk="1" hangingPunct="1">
                    <a:lnSpc>
                      <a:spcPct val="85000"/>
                    </a:lnSpc>
                    <a:spcBef>
                      <a:spcPct val="0"/>
                    </a:spcBef>
                    <a:spcAft>
                      <a:spcPts val="600"/>
                    </a:spcAft>
                    <a:buClr>
                      <a:srgbClr val="27ACAA"/>
                    </a:buClr>
                    <a:buSzPct val="70000"/>
                    <a:buFont typeface="Arial" panose="020B0604020202020204" pitchFamily="34" charset="0"/>
                    <a:buNone/>
                  </a:pPr>
                  <a:r>
                    <a:rPr lang="ru-RU" altLang="en-US" sz="1000" b="1" dirty="0">
                      <a:solidFill>
                        <a:srgbClr val="2E2E38"/>
                      </a:solidFill>
                      <a:latin typeface="Arial" panose="020B0604020202020204" pitchFamily="34" charset="0"/>
                    </a:rPr>
                    <a:t>Существенный пересмотр содержания глав, статьей, </a:t>
                  </a:r>
                  <a:br>
                    <a:rPr lang="ru-RU" altLang="en-US" sz="1000" b="1" dirty="0">
                      <a:solidFill>
                        <a:srgbClr val="2E2E38"/>
                      </a:solidFill>
                      <a:latin typeface="Arial" panose="020B0604020202020204" pitchFamily="34" charset="0"/>
                    </a:rPr>
                  </a:br>
                  <a:r>
                    <a:rPr lang="ru-RU" altLang="en-US" sz="1000" b="1" dirty="0">
                      <a:solidFill>
                        <a:srgbClr val="2E2E38"/>
                      </a:solidFill>
                      <a:latin typeface="Arial" panose="020B0604020202020204" pitchFamily="34" charset="0"/>
                    </a:rPr>
                    <a:t>а также внедрены новые подходы 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7708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4003" y="43700"/>
            <a:ext cx="11229175" cy="492376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ЗАДАЧИ нового Бюджетного кодекса</a:t>
            </a:r>
          </a:p>
        </p:txBody>
      </p:sp>
      <p:cxnSp>
        <p:nvCxnSpPr>
          <p:cNvPr id="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205512" y="890257"/>
            <a:ext cx="11646853" cy="4526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3" indent="-342900" algn="just">
              <a:lnSpc>
                <a:spcPct val="115000"/>
              </a:lnSpc>
              <a:spcAft>
                <a:spcPts val="6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Tahoma" panose="020B0604030504040204" pitchFamily="34" charset="0"/>
                <a:sym typeface="Arial"/>
              </a:rPr>
              <a:t>УПРОЩЕНИЕ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бюджетного процесса</a:t>
            </a:r>
          </a:p>
          <a:p>
            <a:pPr marL="800100" lvl="4" indent="-342900" algn="just">
              <a:lnSpc>
                <a:spcPct val="115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Внедрение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лочного бюджетирования</a:t>
            </a:r>
          </a:p>
          <a:p>
            <a:pPr marL="800100" lvl="4" indent="-342900" algn="just">
              <a:lnSpc>
                <a:spcPct val="115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инжиниринг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бюджетного процесса c сокращением сроков и этапов в два раза</a:t>
            </a:r>
          </a:p>
          <a:p>
            <a:pPr marL="342900" lvl="3" indent="-342900" algn="just">
              <a:lnSpc>
                <a:spcPct val="115000"/>
              </a:lnSpc>
              <a:spcAft>
                <a:spcPts val="18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ЗДАНИЕ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тодологической основы управления государственными финансами</a:t>
            </a:r>
          </a:p>
          <a:p>
            <a:pPr marL="342900" lvl="3" indent="-342900" algn="just">
              <a:lnSpc>
                <a:spcPct val="115000"/>
              </a:lnSpc>
              <a:spcAft>
                <a:spcPts val="18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ЕСПЕЧЕНИЕ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подотчетности доходной части бюджета</a:t>
            </a:r>
          </a:p>
          <a:p>
            <a:pPr marL="342900" lvl="3" indent="-342900" algn="just">
              <a:lnSpc>
                <a:spcPct val="115000"/>
              </a:lnSpc>
              <a:spcAft>
                <a:spcPts val="18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ВЕРШЕНСТВОВАНИЕ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ежбюджетных отношений</a:t>
            </a:r>
          </a:p>
          <a:p>
            <a:pPr marL="342900" lvl="3" indent="-342900" algn="just">
              <a:lnSpc>
                <a:spcPct val="115000"/>
              </a:lnSpc>
              <a:spcAft>
                <a:spcPts val="18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ШЕНИЕ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истемных недостатков государственных инвестиционных проектов</a:t>
            </a:r>
          </a:p>
          <a:p>
            <a:pPr marL="342900" lvl="3" indent="-342900" algn="just">
              <a:lnSpc>
                <a:spcPct val="115000"/>
              </a:lnSpc>
              <a:spcAft>
                <a:spcPts val="1800"/>
              </a:spcAft>
              <a:buClr>
                <a:srgbClr val="003366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СИЛЕНИЕ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инципов БОР и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ОВЕРШЕНСТВОВАНИЕ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нструментов управления результатами</a:t>
            </a:r>
          </a:p>
        </p:txBody>
      </p:sp>
    </p:spTree>
    <p:extLst>
      <p:ext uri="{BB962C8B-B14F-4D97-AF65-F5344CB8AC3E}">
        <p14:creationId xmlns:p14="http://schemas.microsoft.com/office/powerpoint/2010/main" val="100776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146432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1. УПРОЩЕНИЕ бюджетного процесса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14520" y="578617"/>
            <a:ext cx="11962959" cy="6153145"/>
            <a:chOff x="146431" y="544612"/>
            <a:chExt cx="12030947" cy="6351269"/>
          </a:xfrm>
        </p:grpSpPr>
        <p:sp>
          <p:nvSpPr>
            <p:cNvPr id="18" name="TextBox 26"/>
            <p:cNvSpPr txBox="1">
              <a:spLocks noChangeArrowheads="1"/>
            </p:cNvSpPr>
            <p:nvPr/>
          </p:nvSpPr>
          <p:spPr bwMode="auto">
            <a:xfrm>
              <a:off x="493669" y="3158729"/>
              <a:ext cx="10178662" cy="419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ru-RU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ГИБКОСТЬ/САМОСТОЯТЕЛЬНОСТЬ</a:t>
              </a:r>
            </a:p>
          </p:txBody>
        </p:sp>
        <p:sp>
          <p:nvSpPr>
            <p:cNvPr id="23" name="Прямоугольник 27"/>
            <p:cNvSpPr>
              <a:spLocks noChangeArrowheads="1"/>
            </p:cNvSpPr>
            <p:nvPr/>
          </p:nvSpPr>
          <p:spPr bwMode="auto">
            <a:xfrm>
              <a:off x="493669" y="3547427"/>
              <a:ext cx="10831357" cy="353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81" tIns="60840" rIns="121681" bIns="60840">
              <a:spAutoFit/>
            </a:bodyPr>
            <a:lstStyle>
              <a:lvl1pPr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язательное укрупнение бюджетных программ вокруг цели плана развития госоргана</a:t>
              </a:r>
            </a:p>
          </p:txBody>
        </p:sp>
        <p:sp>
          <p:nvSpPr>
            <p:cNvPr id="24" name="Прямоугольник 28"/>
            <p:cNvSpPr>
              <a:spLocks noChangeArrowheads="1"/>
            </p:cNvSpPr>
            <p:nvPr/>
          </p:nvSpPr>
          <p:spPr bwMode="auto">
            <a:xfrm>
              <a:off x="276608" y="4206385"/>
              <a:ext cx="11664327" cy="2689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marL="169863" indent="-169863"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514350" indent="-169863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ЗАПРЕТ</a:t>
              </a:r>
              <a:r>
                <a:rPr lang="ru-RU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на открытие второй, третьей бюджетной программы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РЕРАСПРЕДЕЛЕНИЕ бюджетных средств:</a:t>
              </a:r>
            </a:p>
            <a:p>
              <a:pPr lvl="1"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ru-RU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самостоятельно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 администраторами бюджетных программ в рамках </a:t>
              </a:r>
              <a:r>
                <a:rPr lang="ru-RU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одной бюджетной программы/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средства Национального фонда по решению Республиканской бюджетной комиссии</a:t>
              </a:r>
            </a:p>
            <a:p>
              <a:pPr lvl="1" algn="just" eaLnBrk="1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между бюджетными программами по решению Республиканской бюджетной комиссии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ПРОЩЕНИЕ</a:t>
              </a:r>
              <a:r>
                <a:rPr lang="ru-RU" altLang="en-US" sz="24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процедуры</a:t>
              </a:r>
              <a:r>
                <a:rPr lang="ru-RU" altLang="en-US" sz="24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НОСА</a:t>
              </a:r>
              <a:r>
                <a:rPr lang="ru-RU" altLang="en-US" sz="24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остатков средств по итогам финансового года</a:t>
              </a:r>
            </a:p>
            <a:p>
              <a:pPr algn="just" eaLnBrk="1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ЗАПУСК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института финансирования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щестрановых задач через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внебюджетный фонд</a:t>
              </a:r>
            </a:p>
          </p:txBody>
        </p:sp>
        <p:sp>
          <p:nvSpPr>
            <p:cNvPr id="25" name="Стрелка вниз 29"/>
            <p:cNvSpPr>
              <a:spLocks noChangeArrowheads="1"/>
            </p:cNvSpPr>
            <p:nvPr/>
          </p:nvSpPr>
          <p:spPr bwMode="auto">
            <a:xfrm>
              <a:off x="5401109" y="1230281"/>
              <a:ext cx="825884" cy="239689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buFont typeface="Arial" panose="020B0604020202020204" pitchFamily="34" charset="0"/>
                <a:buNone/>
              </a:pPr>
              <a:endParaRPr lang="ru-RU" altLang="en-US" sz="2400">
                <a:solidFill>
                  <a:srgbClr val="FFFFFF"/>
                </a:solidFill>
              </a:endParaRPr>
            </a:p>
          </p:txBody>
        </p:sp>
        <p:sp>
          <p:nvSpPr>
            <p:cNvPr id="26" name="TextBox 30"/>
            <p:cNvSpPr txBox="1">
              <a:spLocks noChangeArrowheads="1"/>
            </p:cNvSpPr>
            <p:nvPr/>
          </p:nvSpPr>
          <p:spPr bwMode="auto">
            <a:xfrm>
              <a:off x="504760" y="1405049"/>
              <a:ext cx="10760350" cy="399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ru-RU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УПРОЩЕНИЕ /ОПТИМИЗАЦИЯ БЮДЖЕТНЫХ ПРОЦЕДУР</a:t>
              </a:r>
            </a:p>
          </p:txBody>
        </p:sp>
        <p:sp>
          <p:nvSpPr>
            <p:cNvPr id="27" name="Прямоугольник 31"/>
            <p:cNvSpPr>
              <a:spLocks noChangeArrowheads="1"/>
            </p:cNvSpPr>
            <p:nvPr/>
          </p:nvSpPr>
          <p:spPr bwMode="auto">
            <a:xfrm>
              <a:off x="276608" y="1853045"/>
              <a:ext cx="11900770" cy="122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marL="169863" indent="-169863"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УСТАНОВЛЕНИЕ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стабильных лимитов по базовым постоянным расходам бюджета ~ </a:t>
              </a:r>
              <a:r>
                <a:rPr lang="ru-RU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более 50%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расходов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</a:pPr>
              <a:r>
                <a:rPr lang="ru-RU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ТИМИЗАЦИЯ</a:t>
              </a:r>
              <a:r>
                <a:rPr lang="ru-RU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документов планирования, упразднение согласования и утверждения бюджетных программ 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СОКРАЩЕНИЕ</a:t>
              </a:r>
              <a:r>
                <a:rPr lang="kk-KZ" altLang="en-US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 </a:t>
              </a:r>
              <a:r>
                <a:rPr lang="kk-KZ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процедур согласования и утверждения/уточнения планов развити</a:t>
              </a:r>
              <a:r>
                <a:rPr lang="ru-RU" alt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rPr>
                <a:t>я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AD5B5BCB-2179-F645-925B-D69E4C667DB8}"/>
                </a:ext>
              </a:extLst>
            </p:cNvPr>
            <p:cNvSpPr/>
            <p:nvPr/>
          </p:nvSpPr>
          <p:spPr>
            <a:xfrm>
              <a:off x="146431" y="544612"/>
              <a:ext cx="12018175" cy="750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20291" indent="-285750" defTabSz="515653">
                <a:lnSpc>
                  <a:spcPct val="113000"/>
                </a:lnSpc>
                <a:spcAft>
                  <a:spcPts val="300"/>
                </a:spcAft>
                <a:buFont typeface="Wingdings" panose="05000000000000000000" pitchFamily="2" charset="2"/>
                <a:buChar char="§"/>
                <a:tabLst>
                  <a:tab pos="200025" algn="l"/>
                </a:tabLst>
                <a:defRPr/>
              </a:pP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недрение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ЛОЧНОГО БЮДЖЕТИРОВАНИЯ 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учетом 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ОБЕННОСТЕЙ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циональной системы государственного управления</a:t>
              </a:r>
            </a:p>
          </p:txBody>
        </p:sp>
        <p:sp>
          <p:nvSpPr>
            <p:cNvPr id="12" name="Стрелка вниз 29"/>
            <p:cNvSpPr>
              <a:spLocks noChangeArrowheads="1"/>
            </p:cNvSpPr>
            <p:nvPr/>
          </p:nvSpPr>
          <p:spPr bwMode="auto">
            <a:xfrm>
              <a:off x="5483285" y="3966696"/>
              <a:ext cx="825884" cy="239689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/>
            <a:p>
              <a:pPr algn="ctr" defTabSz="688975">
                <a:buFont typeface="Arial" panose="020B0604020202020204" pitchFamily="34" charset="0"/>
                <a:buNone/>
              </a:pPr>
              <a:endParaRPr lang="ru-RU" altLang="en-US" sz="2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039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Группа 33"/>
          <p:cNvGrpSpPr/>
          <p:nvPr/>
        </p:nvGrpSpPr>
        <p:grpSpPr>
          <a:xfrm>
            <a:off x="247828" y="1201068"/>
            <a:ext cx="11690647" cy="5034700"/>
            <a:chOff x="556153" y="1246459"/>
            <a:chExt cx="11450688" cy="5034700"/>
          </a:xfrm>
        </p:grpSpPr>
        <p:grpSp>
          <p:nvGrpSpPr>
            <p:cNvPr id="2" name="Группа 1"/>
            <p:cNvGrpSpPr/>
            <p:nvPr/>
          </p:nvGrpSpPr>
          <p:grpSpPr>
            <a:xfrm>
              <a:off x="556153" y="1246459"/>
              <a:ext cx="5576068" cy="4882091"/>
              <a:chOff x="316871" y="1622474"/>
              <a:chExt cx="5576068" cy="4882091"/>
            </a:xfrm>
          </p:grpSpPr>
          <p:sp>
            <p:nvSpPr>
              <p:cNvPr id="3" name="object 4">
                <a:extLst>
                  <a:ext uri="{FF2B5EF4-FFF2-40B4-BE49-F238E27FC236}">
                    <a16:creationId xmlns:a16="http://schemas.microsoft.com/office/drawing/2014/main" id="{FE7CA880-615C-3D32-AE29-E72039C2FC72}"/>
                  </a:ext>
                </a:extLst>
              </p:cNvPr>
              <p:cNvSpPr txBox="1"/>
              <p:nvPr/>
            </p:nvSpPr>
            <p:spPr>
              <a:xfrm>
                <a:off x="316871" y="1622474"/>
                <a:ext cx="5576068" cy="901208"/>
              </a:xfrm>
              <a:prstGeom prst="rect">
                <a:avLst/>
              </a:prstGeom>
            </p:spPr>
            <p:txBody>
              <a:bodyPr vert="horz" wrap="square" lIns="0" tIns="47625" rIns="0" bIns="0" rtlCol="0">
                <a:spAutoFit/>
              </a:bodyPr>
              <a:lstStyle/>
              <a:p>
                <a:pPr marL="12700" marR="5080" lvl="0" indent="-12700" algn="ctr" defTabSz="914400" eaLnBrk="1" fontAlgn="auto" latinLnBrk="0" hangingPunct="1">
                  <a:lnSpc>
                    <a:spcPct val="100000"/>
                  </a:lnSpc>
                  <a:spcBef>
                    <a:spcPts val="37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908685" algn="l"/>
                  </a:tabLst>
                  <a:defRPr/>
                </a:pPr>
                <a:r>
                  <a:rPr kumimoji="0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В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б</a:t>
                </a:r>
                <a:r>
                  <a:rPr kumimoji="0" lang="ru-RU" sz="2000" b="1" i="0" u="none" strike="noStrike" kern="0" cap="none" spc="-2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ю</a:t>
                </a:r>
                <a:r>
                  <a:rPr kumimoji="0" lang="ru-RU" sz="2000" b="1" i="0" u="none" strike="noStrike" kern="0" cap="none" spc="-1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д</a:t>
                </a:r>
                <a:r>
                  <a:rPr kumimoji="0" lang="ru-RU" sz="2000" b="1" i="0" u="none" strike="noStrike" kern="0" cap="none" spc="-3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ж</a:t>
                </a:r>
                <a:r>
                  <a:rPr kumimoji="0" lang="ru-RU" sz="2000" b="1" i="0" u="none" strike="noStrike" kern="0" cap="none" spc="-2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е</a:t>
                </a:r>
                <a:r>
                  <a:rPr kumimoji="0" lang="ru-RU" sz="2000" b="1" i="0" u="none" strike="noStrike" kern="0" cap="none" spc="-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т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е </a:t>
                </a:r>
                <a:r>
                  <a:rPr kumimoji="0" lang="ru-RU" sz="2000" b="1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МИИ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 на 2023 </a:t>
                </a:r>
                <a:r>
                  <a:rPr kumimoji="0" lang="ru-RU" sz="2000" b="1" i="0" u="none" strike="noStrike" kern="0" cap="none" spc="-2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г</a:t>
                </a:r>
                <a:r>
                  <a:rPr kumimoji="0" lang="ru-RU" sz="2000" b="1" i="0" u="none" strike="noStrike" kern="0" cap="none" spc="-2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о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д</a:t>
                </a:r>
                <a:r>
                  <a:rPr kumimoji="0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пре</a:t>
                </a:r>
                <a:r>
                  <a:rPr kumimoji="0" lang="ru-RU" sz="2000" b="1" i="0" u="none" strike="noStrike" kern="0" cap="none" spc="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д</a:t>
                </a:r>
                <a:r>
                  <a:rPr kumimoji="0" lang="ru-RU" sz="2000" b="1" i="0" u="none" strike="noStrike" kern="0" cap="none" spc="-8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у</a:t>
                </a:r>
                <a:r>
                  <a:rPr kumimoji="0" lang="ru-RU" sz="2000" b="1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с</a:t>
                </a:r>
                <a:r>
                  <a:rPr kumimoji="0" lang="ru-RU" sz="2000" b="1" i="0" u="none" strike="noStrike" kern="0" cap="none" spc="-2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м</a:t>
                </a:r>
                <a:r>
                  <a:rPr kumimoji="0" lang="ru-RU" sz="2000" b="1" i="0" u="none" strike="noStrike" kern="0" cap="none" spc="-4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о</a:t>
                </a:r>
                <a:r>
                  <a:rPr kumimoji="0" lang="ru-RU" sz="2000" b="1" i="0" u="none" strike="noStrike" kern="0" cap="none" spc="-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т</a:t>
                </a:r>
                <a:r>
                  <a:rPr kumimoji="0" lang="ru-RU" sz="2000" b="1" i="0" u="none" strike="noStrike" kern="0" cap="none" spc="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</a:t>
                </a:r>
                <a:r>
                  <a:rPr kumimoji="0" lang="ru-RU" sz="2000" b="1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ены сре</a:t>
                </a:r>
                <a:r>
                  <a:rPr kumimoji="0" lang="ru-RU" sz="2000" b="1" i="0" u="none" strike="noStrike" kern="0" cap="none" spc="-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д</a:t>
                </a:r>
                <a:r>
                  <a:rPr kumimoji="0" lang="ru-RU" sz="2000" b="1" i="0" u="none" strike="noStrike" kern="0" cap="none" spc="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с</a:t>
                </a:r>
                <a:r>
                  <a:rPr kumimoji="0" lang="ru-RU" sz="2000" b="1" i="0" u="none" strike="noStrike" kern="0" cap="none" spc="-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т</a:t>
                </a:r>
                <a:r>
                  <a:rPr kumimoji="0" lang="ru-RU" sz="2000" b="1" i="0" u="none" strike="noStrike" kern="0" cap="none" spc="-2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в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а по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35 </a:t>
                </a:r>
                <a:r>
                  <a:rPr kumimoji="0" lang="ru-RU" sz="2000" b="1" i="0" u="none" strike="noStrike" kern="0" cap="none" spc="-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БП</a:t>
                </a:r>
                <a:endPara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Black" panose="020B0A04020102020204" pitchFamily="34" charset="0"/>
                  <a:cs typeface="Arial"/>
                </a:endParaRPr>
              </a:p>
              <a:p>
                <a:pPr marL="1270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(</a:t>
                </a:r>
                <a:r>
                  <a:rPr kumimoji="0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41</a:t>
                </a:r>
                <a:r>
                  <a:rPr kumimoji="0" sz="1400" b="0" i="1" u="none" strike="noStrike" kern="0" cap="none" spc="-6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 </a:t>
                </a:r>
                <a:r>
                  <a:rPr kumimoji="0" lang="ru-RU" sz="14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индикатор</a:t>
                </a:r>
                <a:r>
                  <a:rPr kumimoji="0" sz="14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)</a:t>
                </a:r>
                <a:endParaRPr kumimoji="0" sz="2000" b="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36003B7-89FC-ED81-9986-AF41724C9A78}"/>
                  </a:ext>
                </a:extLst>
              </p:cNvPr>
              <p:cNvSpPr txBox="1"/>
              <p:nvPr/>
            </p:nvSpPr>
            <p:spPr>
              <a:xfrm>
                <a:off x="452053" y="2833382"/>
                <a:ext cx="4390882" cy="5796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Содействие</a:t>
                </a: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устриальному развитию</a:t>
                </a: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 </a:t>
                </a: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повышение</a:t>
                </a:r>
                <a:r>
                  <a:rPr kumimoji="0" lang="ru-RU" sz="1600" b="0" i="0" u="none" strike="noStrike" kern="0" cap="none" spc="7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геологической</a:t>
                </a:r>
                <a:r>
                  <a:rPr kumimoji="0" lang="ru-RU" sz="1600" b="0" i="0" u="none" strike="noStrike" kern="0" cap="none" spc="72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зученности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67DF7D45-1DE9-F458-180F-2DA051AC1734}"/>
                  </a:ext>
                </a:extLst>
              </p:cNvPr>
              <p:cNvSpPr txBox="1"/>
              <p:nvPr/>
            </p:nvSpPr>
            <p:spPr>
              <a:xfrm>
                <a:off x="4491265" y="2846206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7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ов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905372A5-E723-EAA4-0780-C2A70178D200}"/>
                  </a:ext>
                </a:extLst>
              </p:cNvPr>
              <p:cNvSpPr txBox="1"/>
              <p:nvPr/>
            </p:nvSpPr>
            <p:spPr>
              <a:xfrm>
                <a:off x="452053" y="3787086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азвитие транспортной инфраструктуры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49D18BC-C3B5-437F-6492-D0F96827B434}"/>
                  </a:ext>
                </a:extLst>
              </p:cNvPr>
              <p:cNvSpPr txBox="1"/>
              <p:nvPr/>
            </p:nvSpPr>
            <p:spPr>
              <a:xfrm>
                <a:off x="4491265" y="3678081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0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ов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5652DA1-F42D-2A1D-CBA9-39D9946E33E1}"/>
                  </a:ext>
                </a:extLst>
              </p:cNvPr>
              <p:cNvSpPr txBox="1"/>
              <p:nvPr/>
            </p:nvSpPr>
            <p:spPr>
              <a:xfrm>
                <a:off x="452053" y="4606137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азвитие строительной отрасли и ЖКХ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F73C3F9-04FB-DBD8-F8F3-69015DE78561}"/>
                  </a:ext>
                </a:extLst>
              </p:cNvPr>
              <p:cNvSpPr txBox="1"/>
              <p:nvPr/>
            </p:nvSpPr>
            <p:spPr>
              <a:xfrm>
                <a:off x="4491265" y="4497132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8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4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ов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6B6FD4E-149D-0034-6B26-C6632AE96452}"/>
                  </a:ext>
                </a:extLst>
              </p:cNvPr>
              <p:cNvSpPr txBox="1"/>
              <p:nvPr/>
            </p:nvSpPr>
            <p:spPr>
              <a:xfrm>
                <a:off x="452053" y="5332855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Оборонная промышленность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337EBDB-48EA-6804-3BDF-2DF522FDB57E}"/>
                  </a:ext>
                </a:extLst>
              </p:cNvPr>
              <p:cNvSpPr txBox="1"/>
              <p:nvPr/>
            </p:nvSpPr>
            <p:spPr>
              <a:xfrm>
                <a:off x="4491265" y="5316183"/>
                <a:ext cx="140167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6EFBF1A-7BB0-FB6F-414A-017F800C95A6}"/>
                  </a:ext>
                </a:extLst>
              </p:cNvPr>
              <p:cNvSpPr txBox="1"/>
              <p:nvPr/>
            </p:nvSpPr>
            <p:spPr>
              <a:xfrm>
                <a:off x="452053" y="6059572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Вне целей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E416249-BB8E-DEE3-7AB4-0994E7C79D6E}"/>
                  </a:ext>
                </a:extLst>
              </p:cNvPr>
              <p:cNvSpPr txBox="1"/>
              <p:nvPr/>
            </p:nvSpPr>
            <p:spPr>
              <a:xfrm>
                <a:off x="4491265" y="5950567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2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1" u="none" strike="noStrike" kern="0" cap="none" spc="1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001, 120) </a:t>
                </a: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6132221" y="1246459"/>
              <a:ext cx="5874620" cy="5034700"/>
              <a:chOff x="6233614" y="1597364"/>
              <a:chExt cx="6104392" cy="4907201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D6C79FC0-FDC2-8657-BC39-26805938B8FD}"/>
                  </a:ext>
                </a:extLst>
              </p:cNvPr>
              <p:cNvSpPr txBox="1"/>
              <p:nvPr/>
            </p:nvSpPr>
            <p:spPr>
              <a:xfrm>
                <a:off x="6233614" y="1597364"/>
                <a:ext cx="5958386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В случае укрупнения бюджетных программ количество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сократится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до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Arial Black" panose="020B0A04020102020204" pitchFamily="34" charset="0"/>
                    <a:cs typeface="Arial" panose="020B0604020202020204" pitchFamily="34" charset="0"/>
                  </a:rPr>
                  <a:t>10 БП </a:t>
                </a:r>
                <a:r>
                  <a:rPr kumimoji="0" lang="ru-RU" sz="20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/>
                </a:r>
                <a:br>
                  <a:rPr kumimoji="0" lang="ru-RU" sz="20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kumimoji="0" lang="ru-RU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kumimoji="0" lang="ru-RU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 Black" panose="020B0A04020102020204" pitchFamily="34" charset="0"/>
                    <a:cs typeface="Arial" panose="020B0604020202020204" pitchFamily="34" charset="0"/>
                  </a:rPr>
                  <a:t>8</a:t>
                </a:r>
                <a:r>
                  <a:rPr kumimoji="0" lang="ru-RU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индикаторов)</a:t>
                </a:r>
                <a:endParaRPr kumimoji="0" lang="ru-RU" sz="2000" b="0" i="1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B9B527B-BFFD-2541-0CC0-60876624868F}"/>
                  </a:ext>
                </a:extLst>
              </p:cNvPr>
              <p:cNvSpPr txBox="1"/>
              <p:nvPr/>
            </p:nvSpPr>
            <p:spPr>
              <a:xfrm>
                <a:off x="6903626" y="2833382"/>
                <a:ext cx="4390882" cy="5796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Содействие</a:t>
                </a: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устриальному развитию</a:t>
                </a: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 </a:t>
                </a: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повышение</a:t>
                </a:r>
                <a:r>
                  <a:rPr kumimoji="0" lang="ru-RU" sz="1600" b="0" i="0" u="none" strike="noStrike" kern="0" cap="none" spc="73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геологической</a:t>
                </a:r>
                <a:r>
                  <a:rPr kumimoji="0" lang="ru-RU" sz="1600" b="0" i="0" u="none" strike="noStrike" kern="0" cap="none" spc="72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600" b="0" i="0" u="none" strike="noStrike" kern="0" cap="none" spc="-1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зученности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4EF1128-8E2A-F254-56C3-6A843B382317}"/>
                  </a:ext>
                </a:extLst>
              </p:cNvPr>
              <p:cNvSpPr txBox="1"/>
              <p:nvPr/>
            </p:nvSpPr>
            <p:spPr>
              <a:xfrm>
                <a:off x="10936332" y="2846206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3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а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28123F6D-F7D8-313C-F253-D085BC37C110}"/>
                  </a:ext>
                </a:extLst>
              </p:cNvPr>
              <p:cNvSpPr txBox="1"/>
              <p:nvPr/>
            </p:nvSpPr>
            <p:spPr>
              <a:xfrm>
                <a:off x="6903626" y="3787086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азвитие транспортной инфраструктуры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FCB2B4E-2DE6-96FC-DF0A-1C1FCDF0A72F}"/>
                  </a:ext>
                </a:extLst>
              </p:cNvPr>
              <p:cNvSpPr txBox="1"/>
              <p:nvPr/>
            </p:nvSpPr>
            <p:spPr>
              <a:xfrm>
                <a:off x="10936332" y="3678081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5D27A47-92A7-27B2-5A69-C72B55F6B15D}"/>
                  </a:ext>
                </a:extLst>
              </p:cNvPr>
              <p:cNvSpPr txBox="1"/>
              <p:nvPr/>
            </p:nvSpPr>
            <p:spPr>
              <a:xfrm>
                <a:off x="6903626" y="4606137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Развитие строительной отрасли и ЖКХ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7D7FB613-A448-3B75-EC72-41F643DBD630}"/>
                  </a:ext>
                </a:extLst>
              </p:cNvPr>
              <p:cNvSpPr txBox="1"/>
              <p:nvPr/>
            </p:nvSpPr>
            <p:spPr>
              <a:xfrm>
                <a:off x="10936332" y="4497132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3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а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D596D5EA-ED16-F44B-6418-4310F8AE2D8D}"/>
                  </a:ext>
                </a:extLst>
              </p:cNvPr>
              <p:cNvSpPr txBox="1"/>
              <p:nvPr/>
            </p:nvSpPr>
            <p:spPr>
              <a:xfrm>
                <a:off x="6903626" y="5332855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Оборонная промышленность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0771A72-BFA8-6214-C86E-6CE289D4D23C}"/>
                  </a:ext>
                </a:extLst>
              </p:cNvPr>
              <p:cNvSpPr txBox="1"/>
              <p:nvPr/>
            </p:nvSpPr>
            <p:spPr>
              <a:xfrm>
                <a:off x="6903626" y="6059572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 indent="0" defTabSz="914400" eaLnBrk="1" fontAlgn="auto" latinLnBrk="0" hangingPunct="1">
                  <a:lnSpc>
                    <a:spcPts val="1939"/>
                  </a:lnSpc>
                  <a:spcBef>
                    <a:spcPts val="34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241300" algn="l"/>
                  </a:tabLst>
                  <a:defRPr/>
                </a:pPr>
                <a:r>
                  <a:rPr kumimoji="0" lang="ru-RU" sz="1600" b="0" i="0" u="none" strike="noStrike" kern="0" cap="none" spc="-5" normalizeH="0" baseline="0" noProof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Вне целей 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604E92D5-CD9A-C257-C055-97F7AE3D8C8B}"/>
                  </a:ext>
                </a:extLst>
              </p:cNvPr>
              <p:cNvSpPr txBox="1"/>
              <p:nvPr/>
            </p:nvSpPr>
            <p:spPr>
              <a:xfrm>
                <a:off x="10936332" y="5950567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2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1" u="none" strike="noStrike" kern="0" cap="none" spc="1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001, 120) 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6005FC45-097E-FF12-5457-E2639996356F}"/>
                  </a:ext>
                </a:extLst>
              </p:cNvPr>
              <p:cNvSpPr txBox="1"/>
              <p:nvPr/>
            </p:nvSpPr>
            <p:spPr>
              <a:xfrm>
                <a:off x="10936332" y="5221625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П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5" name="Текст 2"/>
          <p:cNvSpPr txBox="1">
            <a:spLocks/>
          </p:cNvSpPr>
          <p:nvPr/>
        </p:nvSpPr>
        <p:spPr>
          <a:xfrm>
            <a:off x="515393" y="574729"/>
            <a:ext cx="5157787" cy="46507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ая система</a:t>
            </a:r>
            <a:endParaRPr lang="en-US" sz="2000" i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Текст 2"/>
          <p:cNvSpPr txBox="1">
            <a:spLocks/>
          </p:cNvSpPr>
          <p:nvPr/>
        </p:nvSpPr>
        <p:spPr>
          <a:xfrm>
            <a:off x="6198915" y="631560"/>
            <a:ext cx="5157787" cy="46507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едлагаемой модели</a:t>
            </a:r>
            <a:endParaRPr lang="en-US" sz="2000" i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V="1">
            <a:off x="0" y="488951"/>
            <a:ext cx="12192000" cy="211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50991" y="13104"/>
            <a:ext cx="108141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УКРУПНЕНИЕ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 на ПРИМЕРЕ БЮДЖЕТА МИИР 2023-2025 гг.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54017332-EFEA-43E6-AC8B-60051316F986}"/>
              </a:ext>
            </a:extLst>
          </p:cNvPr>
          <p:cNvCxnSpPr>
            <a:cxnSpLocks/>
          </p:cNvCxnSpPr>
          <p:nvPr/>
        </p:nvCxnSpPr>
        <p:spPr>
          <a:xfrm flipH="1">
            <a:off x="5984896" y="2202832"/>
            <a:ext cx="19796" cy="4635776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1900148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БК презент для отделов АП полная [Режим совместимости]" id="{1C7BE349-DE78-4C49-BE00-4BCED32F006D}" vid="{BBED97D0-B35F-4473-9B60-522F6566A85D}"/>
    </a:ext>
  </a:extLst>
</a:theme>
</file>

<file path=ppt/theme/theme4.xml><?xml version="1.0" encoding="utf-8"?>
<a:theme xmlns:a="http://schemas.openxmlformats.org/drawingml/2006/main" name="Тема1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Тема1" id="{2ED3C8C1-677F-4C91-91C9-73089951F1ED}" vid="{3E2BF540-C73B-4C49-86C8-394ABD994795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503</TotalTime>
  <Words>5099</Words>
  <Application>Microsoft Office PowerPoint</Application>
  <PresentationFormat>Широкоэкранный</PresentationFormat>
  <Paragraphs>1057</Paragraphs>
  <Slides>3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56" baseType="lpstr">
      <vt:lpstr>ＭＳ Ｐゴシック</vt:lpstr>
      <vt:lpstr>Arial</vt:lpstr>
      <vt:lpstr>Arial Black</vt:lpstr>
      <vt:lpstr>Barlow Condensed</vt:lpstr>
      <vt:lpstr>Calibri</vt:lpstr>
      <vt:lpstr>Calibri Light</vt:lpstr>
      <vt:lpstr>Lato Heavy</vt:lpstr>
      <vt:lpstr>PMingLiU</vt:lpstr>
      <vt:lpstr>Segoe UI</vt:lpstr>
      <vt:lpstr>Segoe UI Semibold</vt:lpstr>
      <vt:lpstr>Segoe UI Semilight</vt:lpstr>
      <vt:lpstr>Tahoma</vt:lpstr>
      <vt:lpstr>Times New Roman</vt:lpstr>
      <vt:lpstr>Wingdings</vt:lpstr>
      <vt:lpstr>9_Office Theme</vt:lpstr>
      <vt:lpstr>1_Тема Office</vt:lpstr>
      <vt:lpstr>5_Тема Office</vt:lpstr>
      <vt:lpstr>Тема1</vt:lpstr>
      <vt:lpstr>think-cell Slide</vt:lpstr>
      <vt:lpstr>Основные положения нового                 БЮДЖЕТНОГО КОДЕКС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ОВЫЙ бюджетный процесс: 1 этап, 3 месяца /90 календарных дней  </vt:lpstr>
      <vt:lpstr>ПРОЦЕСС установления лимитов расходов госорган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положения нового                 Бюджетного кодекса</dc:title>
  <dc:creator>Torina Dinara</dc:creator>
  <cp:lastModifiedBy>Толеген Окенов</cp:lastModifiedBy>
  <cp:revision>176</cp:revision>
  <cp:lastPrinted>2023-09-07T11:51:45Z</cp:lastPrinted>
  <dcterms:created xsi:type="dcterms:W3CDTF">2023-05-18T09:51:37Z</dcterms:created>
  <dcterms:modified xsi:type="dcterms:W3CDTF">2023-10-04T09:00:25Z</dcterms:modified>
</cp:coreProperties>
</file>